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sldIdLst>
    <p:sldId id="256" r:id="rId2"/>
    <p:sldId id="267" r:id="rId3"/>
    <p:sldId id="335" r:id="rId4"/>
    <p:sldId id="336" r:id="rId5"/>
    <p:sldId id="327" r:id="rId6"/>
    <p:sldId id="257" r:id="rId7"/>
    <p:sldId id="318" r:id="rId8"/>
    <p:sldId id="332" r:id="rId9"/>
    <p:sldId id="321" r:id="rId10"/>
    <p:sldId id="326" r:id="rId11"/>
    <p:sldId id="322" r:id="rId12"/>
    <p:sldId id="280" r:id="rId13"/>
    <p:sldId id="337" r:id="rId14"/>
    <p:sldId id="334" r:id="rId15"/>
    <p:sldId id="338" r:id="rId16"/>
    <p:sldId id="339" r:id="rId17"/>
    <p:sldId id="319" r:id="rId18"/>
    <p:sldId id="328" r:id="rId19"/>
    <p:sldId id="341" r:id="rId20"/>
    <p:sldId id="333" r:id="rId21"/>
    <p:sldId id="324" r:id="rId22"/>
    <p:sldId id="340" r:id="rId23"/>
    <p:sldId id="342" r:id="rId24"/>
  </p:sldIdLst>
  <p:sldSz cx="9144000" cy="5143500" type="screen16x9"/>
  <p:notesSz cx="6858000" cy="9144000"/>
  <p:defaultTextStyle>
    <a:defPPr>
      <a:defRPr lang="da-DK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41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4246516-D1C0-0E97-B572-81D97AC362EF}" name="Kristina Skjødt" initials="KS" userId="S::KSB@kombit.dk::ddaaaeb9-12dd-4e6d-a87a-05de5582178a" providerId="AD"/>
  <p188:author id="{A4F98680-FEF6-4908-CB7E-80157D23AF26}" name="Tom Bøgeskov" initials="TB" userId="S::TOB@kombit.dk::90222075-ac5b-4978-9f1f-c35a1b8c6b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78787"/>
    <a:srgbClr val="F6F6F6"/>
    <a:srgbClr val="CCC09E"/>
    <a:srgbClr val="F3EFE0"/>
    <a:srgbClr val="D6D6D6"/>
    <a:srgbClr val="E30613"/>
    <a:srgbClr val="111111"/>
    <a:srgbClr val="FEB74B"/>
    <a:srgbClr val="F2F7FA"/>
    <a:srgbClr val="0045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8034E78-7F5D-4C2E-B375-FC64B27BC917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llemlayou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llemlayout 1 - Markering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16DA210-FB5B-4158-B5E0-FEB733F419BA}" styleName="Lyst layou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yst layou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034E78-7F5D-4C2E-B375-FC64B27BC917}" styleName="Mørkt layou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2838BEF-8BB2-4498-84A7-C5851F593DF1}" styleName="Mellemlayout 4 - Marker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llemlayout 4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435"/>
  </p:normalViewPr>
  <p:slideViewPr>
    <p:cSldViewPr snapToObjects="1">
      <p:cViewPr varScale="1">
        <p:scale>
          <a:sx n="83" d="100"/>
          <a:sy n="83" d="100"/>
        </p:scale>
        <p:origin x="784" y="60"/>
      </p:cViewPr>
      <p:guideLst>
        <p:guide orient="horz" pos="441"/>
        <p:guide pos="2880"/>
        <p:guide orient="horz" pos="16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2" d="100"/>
        <a:sy n="9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m Bøgeskov" userId="90222075-ac5b-4978-9f1f-c35a1b8c6b10" providerId="ADAL" clId="{0A785DFE-A3F3-44A5-9FB2-DBBE11893788}"/>
    <pc:docChg chg="delSld">
      <pc:chgData name="Tom Bøgeskov" userId="90222075-ac5b-4978-9f1f-c35a1b8c6b10" providerId="ADAL" clId="{0A785DFE-A3F3-44A5-9FB2-DBBE11893788}" dt="2025-04-07T09:20:28.789" v="1" actId="47"/>
      <pc:docMkLst>
        <pc:docMk/>
      </pc:docMkLst>
      <pc:sldChg chg="del">
        <pc:chgData name="Tom Bøgeskov" userId="90222075-ac5b-4978-9f1f-c35a1b8c6b10" providerId="ADAL" clId="{0A785DFE-A3F3-44A5-9FB2-DBBE11893788}" dt="2025-04-07T09:20:28.789" v="1" actId="47"/>
        <pc:sldMkLst>
          <pc:docMk/>
          <pc:sldMk cId="953397891" sldId="281"/>
        </pc:sldMkLst>
      </pc:sldChg>
      <pc:sldChg chg="del">
        <pc:chgData name="Tom Bøgeskov" userId="90222075-ac5b-4978-9f1f-c35a1b8c6b10" providerId="ADAL" clId="{0A785DFE-A3F3-44A5-9FB2-DBBE11893788}" dt="2025-04-07T09:20:25.438" v="0" actId="47"/>
        <pc:sldMkLst>
          <pc:docMk/>
          <pc:sldMk cId="440711830" sldId="32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Neue Haas Grotesk Text Pro" panose="020B0504020202020204" pitchFamily="34" charset="77"/>
              </a:defRPr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Neue Haas Grotesk Text Pro" panose="020B0504020202020204" pitchFamily="34" charset="77"/>
              </a:defRPr>
            </a:lvl1pPr>
          </a:lstStyle>
          <a:p>
            <a:fld id="{423F1D11-0C21-7748-9423-5BA4F311B965}" type="datetimeFigureOut">
              <a:rPr lang="da-DK" smtClean="0"/>
              <a:pPr/>
              <a:t>07-04-2025</a:t>
            </a:fld>
            <a:endParaRPr lang="da-DK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Neue Haas Grotesk Text Pro" panose="020B0504020202020204" pitchFamily="34" charset="77"/>
              </a:defRPr>
            </a:lvl1pPr>
          </a:lstStyle>
          <a:p>
            <a:endParaRPr lang="da-DK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Neue Haas Grotesk Text Pro" panose="020B0504020202020204" pitchFamily="34" charset="77"/>
              </a:defRPr>
            </a:lvl1pPr>
          </a:lstStyle>
          <a:p>
            <a:fld id="{732F1CDE-5D83-9F4B-8CB9-2EF3BC0A1883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003692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Neue Haas Grotesk Text Pro" panose="020B0504020202020204" pitchFamily="34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Neue Haas Grotesk Text Pro" panose="020B0504020202020204" pitchFamily="34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Neue Haas Grotesk Text Pro" panose="020B0504020202020204" pitchFamily="34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Neue Haas Grotesk Text Pro" panose="020B0504020202020204" pitchFamily="34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Neue Haas Grotesk Text Pro" panose="020B0504020202020204" pitchFamily="34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r>
              <a:rPr lang="da-DK" sz="1200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se Jess Desfeux: Ishøj</a:t>
            </a:r>
            <a:endParaRPr lang="da-DK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a-DK" sz="1200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ne: lcara@ishoj.dk</a:t>
            </a:r>
            <a:endParaRPr lang="da-DK" dirty="0"/>
          </a:p>
          <a:p>
            <a:r>
              <a:rPr lang="da-DK" dirty="0">
                <a:sym typeface="Wingdings" panose="05000000000000000000" pitchFamily="2" charset="2"/>
              </a:rPr>
              <a:t> Opfordre til at deltage – vi blive bedre i KOMBIT og kan bedre leverer relevant indhold til </a:t>
            </a:r>
            <a:r>
              <a:rPr lang="da-DK" dirty="0" err="1">
                <a:sym typeface="Wingdings" panose="05000000000000000000" pitchFamily="2" charset="2"/>
              </a:rPr>
              <a:t>jerr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F1CDE-5D83-9F4B-8CB9-2EF3BC0A1883}" type="slidenum">
              <a:rPr lang="da-DK" smtClean="0"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40852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F1CDE-5D83-9F4B-8CB9-2EF3BC0A1883}" type="slidenum">
              <a:rPr lang="da-DK" smtClean="0"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829094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2CCE40-CB87-CF3D-3C78-4E5925E60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1432426"/>
            <a:ext cx="6119911" cy="792088"/>
          </a:xfrm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redigere titeltypografien </a:t>
            </a:r>
            <a:br>
              <a:rPr lang="da-DK" dirty="0"/>
            </a:br>
            <a:r>
              <a:rPr lang="da-DK" dirty="0"/>
              <a:t>i masteren</a:t>
            </a:r>
            <a:endParaRPr lang="en-GB" dirty="0"/>
          </a:p>
        </p:txBody>
      </p:sp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5757799A-0EC8-8FFE-391A-C705EF55A0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386850"/>
            <a:ext cx="6119911" cy="1133807"/>
          </a:xfrm>
        </p:spPr>
        <p:txBody>
          <a:bodyPr rIns="0" anchor="t"/>
          <a:lstStyle>
            <a:lvl1pPr marL="0" indent="0" algn="l">
              <a:buNone/>
              <a:defRPr sz="1000" kern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Pladsholder til tekst 6">
            <a:extLst>
              <a:ext uri="{FF2B5EF4-FFF2-40B4-BE49-F238E27FC236}">
                <a16:creationId xmlns:a16="http://schemas.microsoft.com/office/drawing/2014/main" id="{8ECC06A8-D032-5014-F9A2-748351BB8C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1321200" cy="219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C59C273-8F97-8FCF-65FE-26C9B203B4A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41757" y="431651"/>
            <a:ext cx="931391" cy="4284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2814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skrift + tekst + billede (bun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5">
            <a:extLst>
              <a:ext uri="{FF2B5EF4-FFF2-40B4-BE49-F238E27FC236}">
                <a16:creationId xmlns:a16="http://schemas.microsoft.com/office/drawing/2014/main" id="{87DB21CB-4EE7-18D5-FFC4-F2591CC303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571750"/>
            <a:ext cx="9144000" cy="2571750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B002998-56E0-B41C-4611-6E392593E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951222"/>
            <a:ext cx="2991910" cy="111647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4635518-A0E4-AE02-8A01-B963156D6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0" y="951222"/>
            <a:ext cx="3564819" cy="1116471"/>
          </a:xfrm>
        </p:spPr>
        <p:txBody>
          <a:bodyPr/>
          <a:lstStyle>
            <a:lvl1pPr marL="0" indent="0">
              <a:buNone/>
              <a:defRPr sz="1100">
                <a:latin typeface="Neue Haas Grotesk Text Pro" panose="020B0504020202020204" pitchFamily="34" charset="77"/>
              </a:defRPr>
            </a:lvl1pPr>
            <a:lvl2pPr marL="72000" indent="0">
              <a:buNone/>
              <a:defRPr/>
            </a:lvl2pPr>
            <a:lvl3pPr marL="252000" indent="0">
              <a:buNone/>
              <a:defRPr/>
            </a:lvl3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E6AF5B2-3A69-1F49-DA1A-FED935DE1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9779" y="735323"/>
            <a:ext cx="2992548" cy="144462"/>
          </a:xfrm>
        </p:spPr>
        <p:txBody>
          <a:bodyPr vert="horz" lIns="14400" tIns="0" rIns="0" bIns="0" rtlCol="0">
            <a:noAutofit/>
          </a:bodyPr>
          <a:lstStyle>
            <a:lvl1pPr marL="0" indent="0">
              <a:buNone/>
              <a:defRPr lang="en-GB" sz="1000" cap="all" dirty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</a:lstStyle>
          <a:p>
            <a:pPr marL="171450" lvl="0" indent="-17145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tekst 6">
            <a:extLst>
              <a:ext uri="{FF2B5EF4-FFF2-40B4-BE49-F238E27FC236}">
                <a16:creationId xmlns:a16="http://schemas.microsoft.com/office/drawing/2014/main" id="{29B2FAC6-BF26-045F-8DCE-F4BFC08512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219600" cy="219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1F27B77A-47CB-1461-047F-56640092E97C}"/>
              </a:ext>
            </a:extLst>
          </p:cNvPr>
          <p:cNvSpPr txBox="1"/>
          <p:nvPr userDrawn="1"/>
        </p:nvSpPr>
        <p:spPr>
          <a:xfrm>
            <a:off x="-383241" y="3610535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GB" sz="900" dirty="0">
              <a:latin typeface="Source Sans Pro Light" panose="020B0403030403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4776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6" userDrawn="1">
          <p15:clr>
            <a:srgbClr val="FBAE40"/>
          </p15:clr>
        </p15:guide>
        <p15:guide id="2" orient="horz" pos="59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s (3 række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DD8828A6-E585-6B4F-A1C8-1DBE6955925F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035859" y="2068107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496093B-37A6-AD4C-9138-3E8BD436EB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88482" y="2067694"/>
            <a:ext cx="3003513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Pladsholder til tekst 6">
            <a:extLst>
              <a:ext uri="{FF2B5EF4-FFF2-40B4-BE49-F238E27FC236}">
                <a16:creationId xmlns:a16="http://schemas.microsoft.com/office/drawing/2014/main" id="{62788691-1556-FA1E-C496-6C79B160F7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219600" cy="219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tekst 3">
            <a:extLst>
              <a:ext uri="{FF2B5EF4-FFF2-40B4-BE49-F238E27FC236}">
                <a16:creationId xmlns:a16="http://schemas.microsoft.com/office/drawing/2014/main" id="{08EF0261-14D0-1383-03E9-C9E3A0AA53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8482" y="2212108"/>
            <a:ext cx="3003513" cy="287634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Pladsholder til billede 5">
            <a:extLst>
              <a:ext uri="{FF2B5EF4-FFF2-40B4-BE49-F238E27FC236}">
                <a16:creationId xmlns:a16="http://schemas.microsoft.com/office/drawing/2014/main" id="{8342E6BB-C322-8D89-32E3-B526E872C5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1035859" y="2811074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9" name="Pladsholder til tekst 3">
            <a:extLst>
              <a:ext uri="{FF2B5EF4-FFF2-40B4-BE49-F238E27FC236}">
                <a16:creationId xmlns:a16="http://schemas.microsoft.com/office/drawing/2014/main" id="{5A97597D-99B1-6A4F-5117-8B426C40DF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8482" y="2810661"/>
            <a:ext cx="3003513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Pladsholder til tekst 3">
            <a:extLst>
              <a:ext uri="{FF2B5EF4-FFF2-40B4-BE49-F238E27FC236}">
                <a16:creationId xmlns:a16="http://schemas.microsoft.com/office/drawing/2014/main" id="{4BDB334A-1458-0AC0-AFF1-0739E96E898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8482" y="2955075"/>
            <a:ext cx="3003513" cy="287634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1" name="Pladsholder til billede 5">
            <a:extLst>
              <a:ext uri="{FF2B5EF4-FFF2-40B4-BE49-F238E27FC236}">
                <a16:creationId xmlns:a16="http://schemas.microsoft.com/office/drawing/2014/main" id="{C4ABC68E-A13B-FAFF-E2EB-F53E9D240F22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35859" y="3552442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tekst 3">
            <a:extLst>
              <a:ext uri="{FF2B5EF4-FFF2-40B4-BE49-F238E27FC236}">
                <a16:creationId xmlns:a16="http://schemas.microsoft.com/office/drawing/2014/main" id="{64FF8A76-B404-0C8F-8C0B-30B839A46D7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88482" y="3552029"/>
            <a:ext cx="3003513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Pladsholder til tekst 3">
            <a:extLst>
              <a:ext uri="{FF2B5EF4-FFF2-40B4-BE49-F238E27FC236}">
                <a16:creationId xmlns:a16="http://schemas.microsoft.com/office/drawing/2014/main" id="{E18EE8C3-6589-A11A-1EB5-56F8C0C09F4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88482" y="3696443"/>
            <a:ext cx="3003513" cy="287634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4" name="Pladsholder til billede 5">
            <a:extLst>
              <a:ext uri="{FF2B5EF4-FFF2-40B4-BE49-F238E27FC236}">
                <a16:creationId xmlns:a16="http://schemas.microsoft.com/office/drawing/2014/main" id="{01C77357-C65B-5A9E-B615-A92026CCF59E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5219552" y="2068107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5" name="Pladsholder til tekst 3">
            <a:extLst>
              <a:ext uri="{FF2B5EF4-FFF2-40B4-BE49-F238E27FC236}">
                <a16:creationId xmlns:a16="http://schemas.microsoft.com/office/drawing/2014/main" id="{90180E4D-07F7-B5B5-617E-41F68236FD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672175" y="2067694"/>
            <a:ext cx="3003513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34CF6966-E382-F0AE-7D87-947D9FBC362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72175" y="2212108"/>
            <a:ext cx="3003513" cy="287634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7" name="Pladsholder til billede 5">
            <a:extLst>
              <a:ext uri="{FF2B5EF4-FFF2-40B4-BE49-F238E27FC236}">
                <a16:creationId xmlns:a16="http://schemas.microsoft.com/office/drawing/2014/main" id="{2CEFD869-52FC-2D91-50C5-1E9A468D1D17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5219552" y="2811074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8" name="Pladsholder til tekst 3">
            <a:extLst>
              <a:ext uri="{FF2B5EF4-FFF2-40B4-BE49-F238E27FC236}">
                <a16:creationId xmlns:a16="http://schemas.microsoft.com/office/drawing/2014/main" id="{96EA9739-1B5C-0189-6141-912AACF32E2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72175" y="2810661"/>
            <a:ext cx="3003513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9" name="Pladsholder til tekst 3">
            <a:extLst>
              <a:ext uri="{FF2B5EF4-FFF2-40B4-BE49-F238E27FC236}">
                <a16:creationId xmlns:a16="http://schemas.microsoft.com/office/drawing/2014/main" id="{573F324B-1AD1-A5F2-6C40-8A7D76AC6A7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672175" y="2955075"/>
            <a:ext cx="3003513" cy="287634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0" name="Pladsholder til billede 5">
            <a:extLst>
              <a:ext uri="{FF2B5EF4-FFF2-40B4-BE49-F238E27FC236}">
                <a16:creationId xmlns:a16="http://schemas.microsoft.com/office/drawing/2014/main" id="{611F40D4-8CDB-5EDC-7BAD-B03042BDBD6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5219552" y="3552442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21" name="Pladsholder til tekst 3">
            <a:extLst>
              <a:ext uri="{FF2B5EF4-FFF2-40B4-BE49-F238E27FC236}">
                <a16:creationId xmlns:a16="http://schemas.microsoft.com/office/drawing/2014/main" id="{EC03F92A-66B6-FC8B-CDA8-DA851552E31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672175" y="3552029"/>
            <a:ext cx="3003513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3">
            <a:extLst>
              <a:ext uri="{FF2B5EF4-FFF2-40B4-BE49-F238E27FC236}">
                <a16:creationId xmlns:a16="http://schemas.microsoft.com/office/drawing/2014/main" id="{D6FEAE5D-F3EC-05C0-19FD-9C5F35A48EF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672175" y="3696443"/>
            <a:ext cx="3003513" cy="287634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486BAFFE-8C09-B4E1-113D-5655D6AEF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951222"/>
            <a:ext cx="2991910" cy="900448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24" name="Pladsholder til tekst 5">
            <a:extLst>
              <a:ext uri="{FF2B5EF4-FFF2-40B4-BE49-F238E27FC236}">
                <a16:creationId xmlns:a16="http://schemas.microsoft.com/office/drawing/2014/main" id="{BD12AD24-B17D-7407-348F-63C4241969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9779" y="735323"/>
            <a:ext cx="2992548" cy="144462"/>
          </a:xfrm>
        </p:spPr>
        <p:txBody>
          <a:bodyPr vert="horz" lIns="14400" tIns="0" rIns="0" bIns="0" rtlCol="0">
            <a:noAutofit/>
          </a:bodyPr>
          <a:lstStyle>
            <a:lvl1pPr marL="0" indent="0">
              <a:buNone/>
              <a:defRPr lang="en-GB" sz="1000" cap="all" dirty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</a:lstStyle>
          <a:p>
            <a:pPr marL="171450" lvl="0" indent="-17145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41727951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s (2 række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DD8828A6-E585-6B4F-A1C8-1DBE6955925F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043854" y="2067694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496093B-37A6-AD4C-9138-3E8BD436EB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88483" y="2067694"/>
            <a:ext cx="1620000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Pladsholder til tekst 6">
            <a:extLst>
              <a:ext uri="{FF2B5EF4-FFF2-40B4-BE49-F238E27FC236}">
                <a16:creationId xmlns:a16="http://schemas.microsoft.com/office/drawing/2014/main" id="{62788691-1556-FA1E-C496-6C79B160F7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219600" cy="219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tekst 3">
            <a:extLst>
              <a:ext uri="{FF2B5EF4-FFF2-40B4-BE49-F238E27FC236}">
                <a16:creationId xmlns:a16="http://schemas.microsoft.com/office/drawing/2014/main" id="{08EF0261-14D0-1383-03E9-C9E3A0AA53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8483" y="2212107"/>
            <a:ext cx="1620000" cy="432047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Pladsholder til billede 5">
            <a:extLst>
              <a:ext uri="{FF2B5EF4-FFF2-40B4-BE49-F238E27FC236}">
                <a16:creationId xmlns:a16="http://schemas.microsoft.com/office/drawing/2014/main" id="{8342E6BB-C322-8D89-32E3-B526E872C5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1043854" y="3003402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9" name="Pladsholder til tekst 3">
            <a:extLst>
              <a:ext uri="{FF2B5EF4-FFF2-40B4-BE49-F238E27FC236}">
                <a16:creationId xmlns:a16="http://schemas.microsoft.com/office/drawing/2014/main" id="{5A97597D-99B1-6A4F-5117-8B426C40DF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8483" y="3003402"/>
            <a:ext cx="1620000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Pladsholder til tekst 3">
            <a:extLst>
              <a:ext uri="{FF2B5EF4-FFF2-40B4-BE49-F238E27FC236}">
                <a16:creationId xmlns:a16="http://schemas.microsoft.com/office/drawing/2014/main" id="{4BDB334A-1458-0AC0-AFF1-0739E96E898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8483" y="3147815"/>
            <a:ext cx="1620000" cy="432047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4" name="Pladsholder til billede 5">
            <a:extLst>
              <a:ext uri="{FF2B5EF4-FFF2-40B4-BE49-F238E27FC236}">
                <a16:creationId xmlns:a16="http://schemas.microsoft.com/office/drawing/2014/main" id="{01C77357-C65B-5A9E-B615-A92026CCF59E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6012407" y="2067694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5" name="Pladsholder til tekst 3">
            <a:extLst>
              <a:ext uri="{FF2B5EF4-FFF2-40B4-BE49-F238E27FC236}">
                <a16:creationId xmlns:a16="http://schemas.microsoft.com/office/drawing/2014/main" id="{90180E4D-07F7-B5B5-617E-41F68236FD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57036" y="2067694"/>
            <a:ext cx="1620000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34CF6966-E382-F0AE-7D87-947D9FBC362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57036" y="2212107"/>
            <a:ext cx="1620000" cy="432047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7" name="Pladsholder til billede 5">
            <a:extLst>
              <a:ext uri="{FF2B5EF4-FFF2-40B4-BE49-F238E27FC236}">
                <a16:creationId xmlns:a16="http://schemas.microsoft.com/office/drawing/2014/main" id="{2CEFD869-52FC-2D91-50C5-1E9A468D1D17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6012407" y="3003402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8" name="Pladsholder til tekst 3">
            <a:extLst>
              <a:ext uri="{FF2B5EF4-FFF2-40B4-BE49-F238E27FC236}">
                <a16:creationId xmlns:a16="http://schemas.microsoft.com/office/drawing/2014/main" id="{96EA9739-1B5C-0189-6141-912AACF32E2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57036" y="3003402"/>
            <a:ext cx="1620000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9" name="Pladsholder til tekst 3">
            <a:extLst>
              <a:ext uri="{FF2B5EF4-FFF2-40B4-BE49-F238E27FC236}">
                <a16:creationId xmlns:a16="http://schemas.microsoft.com/office/drawing/2014/main" id="{573F324B-1AD1-A5F2-6C40-8A7D76AC6A7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457036" y="3147815"/>
            <a:ext cx="1620000" cy="432047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3" name="Pladsholder til billede 5">
            <a:extLst>
              <a:ext uri="{FF2B5EF4-FFF2-40B4-BE49-F238E27FC236}">
                <a16:creationId xmlns:a16="http://schemas.microsoft.com/office/drawing/2014/main" id="{B14033C6-F4A0-22AA-9930-3CE1FE4E25F0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3528130" y="2067694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DF32EA48-CFEB-7541-DF41-17413F5F720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972759" y="2067694"/>
            <a:ext cx="1620000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BC296128-C74C-B849-4B94-5A9AF8B0C46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972759" y="2212107"/>
            <a:ext cx="1620000" cy="432047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billede 5">
            <a:extLst>
              <a:ext uri="{FF2B5EF4-FFF2-40B4-BE49-F238E27FC236}">
                <a16:creationId xmlns:a16="http://schemas.microsoft.com/office/drawing/2014/main" id="{81411030-890F-68B2-7EFD-FF089B833B7E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3528130" y="3003402"/>
            <a:ext cx="288000" cy="288000"/>
          </a:xfr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27" name="Pladsholder til tekst 3">
            <a:extLst>
              <a:ext uri="{FF2B5EF4-FFF2-40B4-BE49-F238E27FC236}">
                <a16:creationId xmlns:a16="http://schemas.microsoft.com/office/drawing/2014/main" id="{567FC3D7-2F98-125A-D24C-B2658BB0298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972759" y="3003402"/>
            <a:ext cx="1620000" cy="144413"/>
          </a:xfrm>
        </p:spPr>
        <p:txBody>
          <a:bodyPr rIns="0" anchor="b"/>
          <a:lstStyle>
            <a:lvl1pPr marL="0" indent="0" algn="l">
              <a:buNone/>
              <a:defRPr sz="10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8" name="Pladsholder til tekst 3">
            <a:extLst>
              <a:ext uri="{FF2B5EF4-FFF2-40B4-BE49-F238E27FC236}">
                <a16:creationId xmlns:a16="http://schemas.microsoft.com/office/drawing/2014/main" id="{88BC5081-ABED-3724-55CF-EBFD77504F1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972759" y="3147815"/>
            <a:ext cx="1620000" cy="432047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492E851-BE7C-081C-4EAF-60E653B13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951222"/>
            <a:ext cx="2991910" cy="828838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12" name="Pladsholder til tekst 5">
            <a:extLst>
              <a:ext uri="{FF2B5EF4-FFF2-40B4-BE49-F238E27FC236}">
                <a16:creationId xmlns:a16="http://schemas.microsoft.com/office/drawing/2014/main" id="{E5BAADCD-CC86-812F-5FEB-3CC9C12046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9779" y="735323"/>
            <a:ext cx="2992548" cy="144462"/>
          </a:xfrm>
        </p:spPr>
        <p:txBody>
          <a:bodyPr vert="horz" lIns="14400" tIns="0" rIns="0" bIns="0" rtlCol="0">
            <a:noAutofit/>
          </a:bodyPr>
          <a:lstStyle>
            <a:lvl1pPr marL="0" indent="0">
              <a:buNone/>
              <a:defRPr lang="en-GB" sz="1000" cap="all" dirty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</a:lstStyle>
          <a:p>
            <a:pPr marL="171450" lvl="0" indent="-17145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5441351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rætter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5">
            <a:extLst>
              <a:ext uri="{FF2B5EF4-FFF2-40B4-BE49-F238E27FC236}">
                <a16:creationId xmlns:a16="http://schemas.microsoft.com/office/drawing/2014/main" id="{070C87B3-473D-BAA3-B871-825DD0DF37A4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009650" y="1851497"/>
            <a:ext cx="1145744" cy="1145744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2EDAD55-A7F4-5B25-A8DC-F70270CD04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12023" y="1857599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5" name="Pladsholder til tekst 3">
            <a:extLst>
              <a:ext uri="{FF2B5EF4-FFF2-40B4-BE49-F238E27FC236}">
                <a16:creationId xmlns:a16="http://schemas.microsoft.com/office/drawing/2014/main" id="{BE721C77-7419-9D0B-B82F-06496C42C3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12023" y="2205153"/>
            <a:ext cx="1620000" cy="705721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6440A9A6-1676-EB07-0143-78F08C58E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12023" y="2006282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7" name="Pladsholder til billede 5">
            <a:extLst>
              <a:ext uri="{FF2B5EF4-FFF2-40B4-BE49-F238E27FC236}">
                <a16:creationId xmlns:a16="http://schemas.microsoft.com/office/drawing/2014/main" id="{482A5E1A-5D6D-EBC8-CAED-2066E631A837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200210" y="1851497"/>
            <a:ext cx="1145744" cy="1145744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Pladsholder til tekst 3">
            <a:extLst>
              <a:ext uri="{FF2B5EF4-FFF2-40B4-BE49-F238E27FC236}">
                <a16:creationId xmlns:a16="http://schemas.microsoft.com/office/drawing/2014/main" id="{8CB47331-95D8-D802-D5E6-BCBBBEDA86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2583" y="1857599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9" name="Pladsholder til tekst 3">
            <a:extLst>
              <a:ext uri="{FF2B5EF4-FFF2-40B4-BE49-F238E27FC236}">
                <a16:creationId xmlns:a16="http://schemas.microsoft.com/office/drawing/2014/main" id="{CE4890B4-ABA5-E0C8-F125-E7DB211380D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502583" y="2205153"/>
            <a:ext cx="1620000" cy="705721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Pladsholder til tekst 3">
            <a:extLst>
              <a:ext uri="{FF2B5EF4-FFF2-40B4-BE49-F238E27FC236}">
                <a16:creationId xmlns:a16="http://schemas.microsoft.com/office/drawing/2014/main" id="{D4216E8E-D5DE-C9A9-D7B7-AEF2AF54B1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02583" y="2006282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02D4A4-A722-E685-821D-EF20513EA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951222"/>
            <a:ext cx="2991910" cy="828838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11" name="Pladsholder til tekst 5">
            <a:extLst>
              <a:ext uri="{FF2B5EF4-FFF2-40B4-BE49-F238E27FC236}">
                <a16:creationId xmlns:a16="http://schemas.microsoft.com/office/drawing/2014/main" id="{85B26F96-0536-AA3C-FB51-BA4B01FD58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9779" y="735323"/>
            <a:ext cx="2992548" cy="144462"/>
          </a:xfrm>
        </p:spPr>
        <p:txBody>
          <a:bodyPr vert="horz" lIns="14400" tIns="0" rIns="0" bIns="0" rtlCol="0">
            <a:noAutofit/>
          </a:bodyPr>
          <a:lstStyle>
            <a:lvl1pPr marL="0" indent="0">
              <a:buNone/>
              <a:defRPr lang="en-GB" sz="1000" cap="all" dirty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</a:lstStyle>
          <a:p>
            <a:pPr marL="171450" lvl="0" indent="-17145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653853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rætter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BDF2322E-9FE2-226D-A96B-876A3594D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951222"/>
            <a:ext cx="2991910" cy="828838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19" name="Pladsholder til tekst 5">
            <a:extLst>
              <a:ext uri="{FF2B5EF4-FFF2-40B4-BE49-F238E27FC236}">
                <a16:creationId xmlns:a16="http://schemas.microsoft.com/office/drawing/2014/main" id="{C80C5FD2-EE42-8681-250C-9483E2EA93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9779" y="735323"/>
            <a:ext cx="2992548" cy="144462"/>
          </a:xfrm>
        </p:spPr>
        <p:txBody>
          <a:bodyPr vert="horz" lIns="14400" tIns="0" rIns="0" bIns="0" rtlCol="0">
            <a:noAutofit/>
          </a:bodyPr>
          <a:lstStyle>
            <a:lvl1pPr marL="0" indent="0">
              <a:buNone/>
              <a:defRPr lang="en-GB" sz="1000" cap="all" dirty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</a:lstStyle>
          <a:p>
            <a:pPr marL="171450" lvl="0" indent="-171450"/>
            <a:r>
              <a:rPr lang="da-DK"/>
              <a:t>Klik for at redigere teksttypografierne i masteren</a:t>
            </a:r>
          </a:p>
        </p:txBody>
      </p:sp>
      <p:sp>
        <p:nvSpPr>
          <p:cNvPr id="20" name="Pladsholder til billede 5">
            <a:extLst>
              <a:ext uri="{FF2B5EF4-FFF2-40B4-BE49-F238E27FC236}">
                <a16:creationId xmlns:a16="http://schemas.microsoft.com/office/drawing/2014/main" id="{A94D4C54-C333-FCEF-D431-137BE2D7927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009650" y="1851497"/>
            <a:ext cx="1145744" cy="1145744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1" name="Pladsholder til tekst 3">
            <a:extLst>
              <a:ext uri="{FF2B5EF4-FFF2-40B4-BE49-F238E27FC236}">
                <a16:creationId xmlns:a16="http://schemas.microsoft.com/office/drawing/2014/main" id="{04F7C3E8-350E-04FB-F135-10358467C4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12023" y="1857599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22" name="Pladsholder til tekst 3">
            <a:extLst>
              <a:ext uri="{FF2B5EF4-FFF2-40B4-BE49-F238E27FC236}">
                <a16:creationId xmlns:a16="http://schemas.microsoft.com/office/drawing/2014/main" id="{517E967B-316D-202A-6E0F-6C28B6204EC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12023" y="2205153"/>
            <a:ext cx="1620000" cy="705721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3" name="Pladsholder til tekst 3">
            <a:extLst>
              <a:ext uri="{FF2B5EF4-FFF2-40B4-BE49-F238E27FC236}">
                <a16:creationId xmlns:a16="http://schemas.microsoft.com/office/drawing/2014/main" id="{F40DE611-68E4-F9D2-4776-0CA177B36A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12023" y="2006282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24" name="Pladsholder til billede 5">
            <a:extLst>
              <a:ext uri="{FF2B5EF4-FFF2-40B4-BE49-F238E27FC236}">
                <a16:creationId xmlns:a16="http://schemas.microsoft.com/office/drawing/2014/main" id="{35EB4BB7-7554-4F09-C28D-75A33E81D17E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200210" y="1851497"/>
            <a:ext cx="1145744" cy="1145744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591786BA-ABD2-68D2-3A44-89A7FD3B4C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2583" y="1857599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26" name="Pladsholder til tekst 3">
            <a:extLst>
              <a:ext uri="{FF2B5EF4-FFF2-40B4-BE49-F238E27FC236}">
                <a16:creationId xmlns:a16="http://schemas.microsoft.com/office/drawing/2014/main" id="{F747A01D-97F3-76B0-0737-09472456C92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502583" y="2205153"/>
            <a:ext cx="1620000" cy="705721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Pladsholder til tekst 3">
            <a:extLst>
              <a:ext uri="{FF2B5EF4-FFF2-40B4-BE49-F238E27FC236}">
                <a16:creationId xmlns:a16="http://schemas.microsoft.com/office/drawing/2014/main" id="{EA6542F3-5934-312E-D3D1-0ED02087C7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02583" y="2006282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28" name="Pladsholder til billede 5">
            <a:extLst>
              <a:ext uri="{FF2B5EF4-FFF2-40B4-BE49-F238E27FC236}">
                <a16:creationId xmlns:a16="http://schemas.microsoft.com/office/drawing/2014/main" id="{B59FE46D-0F5F-6AE0-D1B5-C023F1F831C2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1009650" y="3257821"/>
            <a:ext cx="1145744" cy="1145744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9" name="Pladsholder til tekst 3">
            <a:extLst>
              <a:ext uri="{FF2B5EF4-FFF2-40B4-BE49-F238E27FC236}">
                <a16:creationId xmlns:a16="http://schemas.microsoft.com/office/drawing/2014/main" id="{08A4F3A0-3F2A-C3E1-7F36-AF557BE829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12023" y="3263923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9BB2AD37-0A6E-4B0B-48AF-E4F97DB6619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12023" y="3611477"/>
            <a:ext cx="1620000" cy="705721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175EE94A-A494-CC93-3DA8-3B1F7E53F62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12023" y="3412606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32" name="Pladsholder til billede 5">
            <a:extLst>
              <a:ext uri="{FF2B5EF4-FFF2-40B4-BE49-F238E27FC236}">
                <a16:creationId xmlns:a16="http://schemas.microsoft.com/office/drawing/2014/main" id="{70082A65-029C-3CBD-6012-BD4225766C97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200210" y="3257821"/>
            <a:ext cx="1145744" cy="1145744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3" name="Pladsholder til tekst 3">
            <a:extLst>
              <a:ext uri="{FF2B5EF4-FFF2-40B4-BE49-F238E27FC236}">
                <a16:creationId xmlns:a16="http://schemas.microsoft.com/office/drawing/2014/main" id="{4D35FF32-C2F1-95D2-3CE2-FEBAD27303D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02583" y="3263923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34" name="Pladsholder til tekst 3">
            <a:extLst>
              <a:ext uri="{FF2B5EF4-FFF2-40B4-BE49-F238E27FC236}">
                <a16:creationId xmlns:a16="http://schemas.microsoft.com/office/drawing/2014/main" id="{70FD2264-3397-9D88-E3C2-B6F947BC861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02583" y="3611477"/>
            <a:ext cx="1620000" cy="705721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5" name="Pladsholder til tekst 3">
            <a:extLst>
              <a:ext uri="{FF2B5EF4-FFF2-40B4-BE49-F238E27FC236}">
                <a16:creationId xmlns:a16="http://schemas.microsoft.com/office/drawing/2014/main" id="{EDB9A021-B118-0213-E878-3A85F5FD4D3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02583" y="3412606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</p:spTree>
    <p:extLst>
      <p:ext uri="{BB962C8B-B14F-4D97-AF65-F5344CB8AC3E}">
        <p14:creationId xmlns:p14="http://schemas.microsoft.com/office/powerpoint/2010/main" val="41540012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rætter (6 el. 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5">
            <a:extLst>
              <a:ext uri="{FF2B5EF4-FFF2-40B4-BE49-F238E27FC236}">
                <a16:creationId xmlns:a16="http://schemas.microsoft.com/office/drawing/2014/main" id="{070C87B3-473D-BAA3-B871-825DD0DF37A4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84003" y="1428854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2EDAD55-A7F4-5B25-A8DC-F70270CD04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4728" y="1434956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 dirty="0"/>
              <a:t>Fornavn</a:t>
            </a:r>
          </a:p>
        </p:txBody>
      </p:sp>
      <p:sp>
        <p:nvSpPr>
          <p:cNvPr id="5" name="Pladsholder til tekst 3">
            <a:extLst>
              <a:ext uri="{FF2B5EF4-FFF2-40B4-BE49-F238E27FC236}">
                <a16:creationId xmlns:a16="http://schemas.microsoft.com/office/drawing/2014/main" id="{BE721C77-7419-9D0B-B82F-06496C42C3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04728" y="1782511"/>
            <a:ext cx="1620000" cy="510440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6440A9A6-1676-EB07-0143-78F08C58E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4728" y="1583639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Efternavn</a:t>
            </a:r>
          </a:p>
        </p:txBody>
      </p:sp>
      <p:sp>
        <p:nvSpPr>
          <p:cNvPr id="7" name="Pladsholder til billede 5">
            <a:extLst>
              <a:ext uri="{FF2B5EF4-FFF2-40B4-BE49-F238E27FC236}">
                <a16:creationId xmlns:a16="http://schemas.microsoft.com/office/drawing/2014/main" id="{482A5E1A-5D6D-EBC8-CAED-2066E631A837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281357" y="1428854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8" name="Pladsholder til tekst 3">
            <a:extLst>
              <a:ext uri="{FF2B5EF4-FFF2-40B4-BE49-F238E27FC236}">
                <a16:creationId xmlns:a16="http://schemas.microsoft.com/office/drawing/2014/main" id="{8CB47331-95D8-D802-D5E6-BCBBBEDA86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2082" y="1434956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Fornavn</a:t>
            </a:r>
          </a:p>
        </p:txBody>
      </p:sp>
      <p:sp>
        <p:nvSpPr>
          <p:cNvPr id="9" name="Pladsholder til tekst 3">
            <a:extLst>
              <a:ext uri="{FF2B5EF4-FFF2-40B4-BE49-F238E27FC236}">
                <a16:creationId xmlns:a16="http://schemas.microsoft.com/office/drawing/2014/main" id="{CE4890B4-ABA5-E0C8-F125-E7DB211380D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082" y="1782511"/>
            <a:ext cx="1620000" cy="510440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Pladsholder til tekst 3">
            <a:extLst>
              <a:ext uri="{FF2B5EF4-FFF2-40B4-BE49-F238E27FC236}">
                <a16:creationId xmlns:a16="http://schemas.microsoft.com/office/drawing/2014/main" id="{D4216E8E-D5DE-C9A9-D7B7-AEF2AF54B1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02082" y="1583639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Efternavn</a:t>
            </a:r>
          </a:p>
        </p:txBody>
      </p:sp>
      <p:sp>
        <p:nvSpPr>
          <p:cNvPr id="2" name="Pladsholder til billede 5">
            <a:extLst>
              <a:ext uri="{FF2B5EF4-FFF2-40B4-BE49-F238E27FC236}">
                <a16:creationId xmlns:a16="http://schemas.microsoft.com/office/drawing/2014/main" id="{C65363CD-8FAF-BF36-6F74-5A0BCC8BE6CB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84003" y="2506613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11" name="Pladsholder til tekst 3">
            <a:extLst>
              <a:ext uri="{FF2B5EF4-FFF2-40B4-BE49-F238E27FC236}">
                <a16:creationId xmlns:a16="http://schemas.microsoft.com/office/drawing/2014/main" id="{8DEDB2D6-1AFF-EAF9-3643-7E663B1C10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04728" y="2512715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Fornavn</a:t>
            </a:r>
          </a:p>
        </p:txBody>
      </p:sp>
      <p:sp>
        <p:nvSpPr>
          <p:cNvPr id="12" name="Pladsholder til tekst 3">
            <a:extLst>
              <a:ext uri="{FF2B5EF4-FFF2-40B4-BE49-F238E27FC236}">
                <a16:creationId xmlns:a16="http://schemas.microsoft.com/office/drawing/2014/main" id="{A2DC81DF-853C-D3F4-265C-B27726F7DF4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04728" y="2860270"/>
            <a:ext cx="1620000" cy="510440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Pladsholder til tekst 3">
            <a:extLst>
              <a:ext uri="{FF2B5EF4-FFF2-40B4-BE49-F238E27FC236}">
                <a16:creationId xmlns:a16="http://schemas.microsoft.com/office/drawing/2014/main" id="{5520A6BD-6DE7-2638-2BD4-D586F9F875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04728" y="2661398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Efternavn</a:t>
            </a:r>
          </a:p>
        </p:txBody>
      </p:sp>
      <p:sp>
        <p:nvSpPr>
          <p:cNvPr id="14" name="Pladsholder til billede 5">
            <a:extLst>
              <a:ext uri="{FF2B5EF4-FFF2-40B4-BE49-F238E27FC236}">
                <a16:creationId xmlns:a16="http://schemas.microsoft.com/office/drawing/2014/main" id="{75A74AD5-C83D-7897-3AA5-2E4B39CF4653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3281357" y="2506613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15" name="Pladsholder til tekst 3">
            <a:extLst>
              <a:ext uri="{FF2B5EF4-FFF2-40B4-BE49-F238E27FC236}">
                <a16:creationId xmlns:a16="http://schemas.microsoft.com/office/drawing/2014/main" id="{21D8DE0D-B32A-238C-55C8-0ED0EDD6159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2082" y="2512715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Fornavn</a:t>
            </a:r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6F715CB2-A1EA-D243-2E29-C4CD804D886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02082" y="2860270"/>
            <a:ext cx="1620000" cy="510440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C95F10A0-C60A-ECF6-E36E-27A58FBD2D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02082" y="2661398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Efternavn</a:t>
            </a:r>
          </a:p>
        </p:txBody>
      </p:sp>
      <p:sp>
        <p:nvSpPr>
          <p:cNvPr id="18" name="Pladsholder til billede 5">
            <a:extLst>
              <a:ext uri="{FF2B5EF4-FFF2-40B4-BE49-F238E27FC236}">
                <a16:creationId xmlns:a16="http://schemas.microsoft.com/office/drawing/2014/main" id="{D8F20035-BF4C-E8E9-7629-95EB57613D77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84003" y="3578270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19" name="Pladsholder til tekst 3">
            <a:extLst>
              <a:ext uri="{FF2B5EF4-FFF2-40B4-BE49-F238E27FC236}">
                <a16:creationId xmlns:a16="http://schemas.microsoft.com/office/drawing/2014/main" id="{E5DD68DF-0955-D2E0-9EC7-C8E5E09C9D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504728" y="3584372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Fornavn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DE8F6174-F745-2E11-6D8E-B821CD39952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504728" y="3931927"/>
            <a:ext cx="1620000" cy="510440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1" name="Pladsholder til tekst 3">
            <a:extLst>
              <a:ext uri="{FF2B5EF4-FFF2-40B4-BE49-F238E27FC236}">
                <a16:creationId xmlns:a16="http://schemas.microsoft.com/office/drawing/2014/main" id="{5DBA5425-3A6F-5F2C-847C-2459D1AB335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04728" y="3733055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Efternavn</a:t>
            </a:r>
          </a:p>
        </p:txBody>
      </p:sp>
      <p:sp>
        <p:nvSpPr>
          <p:cNvPr id="22" name="Pladsholder til billede 5">
            <a:extLst>
              <a:ext uri="{FF2B5EF4-FFF2-40B4-BE49-F238E27FC236}">
                <a16:creationId xmlns:a16="http://schemas.microsoft.com/office/drawing/2014/main" id="{CE71A5FD-BEB7-115E-D689-E604327F18F7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3281357" y="3578270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23" name="Pladsholder til tekst 3">
            <a:extLst>
              <a:ext uri="{FF2B5EF4-FFF2-40B4-BE49-F238E27FC236}">
                <a16:creationId xmlns:a16="http://schemas.microsoft.com/office/drawing/2014/main" id="{03755236-EF25-1910-CC1E-CA3EFFFAC0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02082" y="3584372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Fornavn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3F9FC192-CF34-F7F4-2E0A-D1E089B04A5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302082" y="3931927"/>
            <a:ext cx="1620000" cy="510440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44B268E-5C54-1D96-9E0F-4846C40ACE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302082" y="3733055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Efternav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5354E46A-4252-9BFC-BE9A-10E1E4D81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55625"/>
            <a:ext cx="3959671" cy="64797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27" name="Pladsholder til tekst 5">
            <a:extLst>
              <a:ext uri="{FF2B5EF4-FFF2-40B4-BE49-F238E27FC236}">
                <a16:creationId xmlns:a16="http://schemas.microsoft.com/office/drawing/2014/main" id="{1EEEA10E-A59B-6FE7-6108-B556F08376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8313" y="339726"/>
            <a:ext cx="4103687" cy="144462"/>
          </a:xfrm>
        </p:spPr>
        <p:txBody>
          <a:bodyPr vert="horz" lIns="14400" tIns="0" rIns="0" bIns="0" rtlCol="0">
            <a:noAutofit/>
          </a:bodyPr>
          <a:lstStyle>
            <a:lvl1pPr marL="0" indent="0">
              <a:buNone/>
              <a:defRPr lang="en-GB" sz="1000" cap="all" dirty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</a:lstStyle>
          <a:p>
            <a:pPr marL="171450" lvl="0" indent="-171450"/>
            <a:r>
              <a:rPr lang="da-DK"/>
              <a:t>Klik for at redigere teksttypografierne i masteren</a:t>
            </a:r>
          </a:p>
        </p:txBody>
      </p:sp>
      <p:sp>
        <p:nvSpPr>
          <p:cNvPr id="28" name="Pladsholder til billede 5">
            <a:extLst>
              <a:ext uri="{FF2B5EF4-FFF2-40B4-BE49-F238E27FC236}">
                <a16:creationId xmlns:a16="http://schemas.microsoft.com/office/drawing/2014/main" id="{4F334368-B4FB-366D-C197-0AFE0188E0C7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6026395" y="1428854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29" name="Pladsholder til tekst 3">
            <a:extLst>
              <a:ext uri="{FF2B5EF4-FFF2-40B4-BE49-F238E27FC236}">
                <a16:creationId xmlns:a16="http://schemas.microsoft.com/office/drawing/2014/main" id="{2A89F82F-FD02-E57B-A2C2-183DF290799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047120" y="1434956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Fornavn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7A7673EC-7F6C-45C2-9BBB-955450D5C61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7120" y="1782511"/>
            <a:ext cx="1620000" cy="510440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2A71BA22-2D8C-6DD3-B2ED-12B1D692E1D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047120" y="1583639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Efternavn</a:t>
            </a:r>
          </a:p>
        </p:txBody>
      </p:sp>
      <p:sp>
        <p:nvSpPr>
          <p:cNvPr id="32" name="Pladsholder til billede 5">
            <a:extLst>
              <a:ext uri="{FF2B5EF4-FFF2-40B4-BE49-F238E27FC236}">
                <a16:creationId xmlns:a16="http://schemas.microsoft.com/office/drawing/2014/main" id="{63147FEA-D1DF-4D4B-33F3-6AF054BD5C7A}"/>
              </a:ext>
            </a:extLst>
          </p:cNvPr>
          <p:cNvSpPr>
            <a:spLocks noGrp="1" noChangeAspect="1"/>
          </p:cNvSpPr>
          <p:nvPr>
            <p:ph type="pic" sz="quarter" idx="45"/>
          </p:nvPr>
        </p:nvSpPr>
        <p:spPr>
          <a:xfrm>
            <a:off x="6026395" y="2506613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33" name="Pladsholder til tekst 3">
            <a:extLst>
              <a:ext uri="{FF2B5EF4-FFF2-40B4-BE49-F238E27FC236}">
                <a16:creationId xmlns:a16="http://schemas.microsoft.com/office/drawing/2014/main" id="{C778F24C-14A2-EF02-D8D0-2C912180E5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047120" y="2512715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Fornavn</a:t>
            </a:r>
          </a:p>
        </p:txBody>
      </p:sp>
      <p:sp>
        <p:nvSpPr>
          <p:cNvPr id="34" name="Pladsholder til tekst 3">
            <a:extLst>
              <a:ext uri="{FF2B5EF4-FFF2-40B4-BE49-F238E27FC236}">
                <a16:creationId xmlns:a16="http://schemas.microsoft.com/office/drawing/2014/main" id="{F78C7943-8667-B79B-BB41-F963B5F3916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047120" y="2860270"/>
            <a:ext cx="1620000" cy="510440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35" name="Pladsholder til tekst 3">
            <a:extLst>
              <a:ext uri="{FF2B5EF4-FFF2-40B4-BE49-F238E27FC236}">
                <a16:creationId xmlns:a16="http://schemas.microsoft.com/office/drawing/2014/main" id="{98D3940C-FDB8-B41E-1CB1-210990DB89A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047120" y="2661398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Efternavn</a:t>
            </a:r>
          </a:p>
        </p:txBody>
      </p:sp>
      <p:sp>
        <p:nvSpPr>
          <p:cNvPr id="36" name="Pladsholder til billede 5">
            <a:extLst>
              <a:ext uri="{FF2B5EF4-FFF2-40B4-BE49-F238E27FC236}">
                <a16:creationId xmlns:a16="http://schemas.microsoft.com/office/drawing/2014/main" id="{C1F975EA-62DA-6ADC-A974-9DC1CCA65B03}"/>
              </a:ext>
            </a:extLst>
          </p:cNvPr>
          <p:cNvSpPr>
            <a:spLocks noGrp="1" noChangeAspect="1"/>
          </p:cNvSpPr>
          <p:nvPr>
            <p:ph type="pic" sz="quarter" idx="49"/>
          </p:nvPr>
        </p:nvSpPr>
        <p:spPr>
          <a:xfrm>
            <a:off x="6026395" y="3578270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37" name="Pladsholder til tekst 3">
            <a:extLst>
              <a:ext uri="{FF2B5EF4-FFF2-40B4-BE49-F238E27FC236}">
                <a16:creationId xmlns:a16="http://schemas.microsoft.com/office/drawing/2014/main" id="{FC5763B6-541B-41E9-C28D-2CF0111C5D1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47120" y="3584372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Fornavn</a:t>
            </a:r>
          </a:p>
        </p:txBody>
      </p:sp>
      <p:sp>
        <p:nvSpPr>
          <p:cNvPr id="38" name="Pladsholder til tekst 3">
            <a:extLst>
              <a:ext uri="{FF2B5EF4-FFF2-40B4-BE49-F238E27FC236}">
                <a16:creationId xmlns:a16="http://schemas.microsoft.com/office/drawing/2014/main" id="{1A59A722-1EBD-8D21-498C-DDA42022CAE7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47120" y="3931927"/>
            <a:ext cx="1620000" cy="510440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39" name="Pladsholder til tekst 3">
            <a:extLst>
              <a:ext uri="{FF2B5EF4-FFF2-40B4-BE49-F238E27FC236}">
                <a16:creationId xmlns:a16="http://schemas.microsoft.com/office/drawing/2014/main" id="{480696B4-4016-3B87-6CF1-A9852DE4710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047120" y="3733055"/>
            <a:ext cx="1620000" cy="144413"/>
          </a:xfrm>
        </p:spPr>
        <p:txBody>
          <a:bodyPr rIns="0" anchor="t"/>
          <a:lstStyle>
            <a:lvl1pPr marL="0" indent="0" algn="l">
              <a:buNone/>
              <a:defRPr sz="11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noProof="0"/>
              <a:t>Efternavn</a:t>
            </a:r>
          </a:p>
        </p:txBody>
      </p:sp>
    </p:spTree>
    <p:extLst>
      <p:ext uri="{BB962C8B-B14F-4D97-AF65-F5344CB8AC3E}">
        <p14:creationId xmlns:p14="http://schemas.microsoft.com/office/powerpoint/2010/main" val="2202124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rætter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5">
            <a:extLst>
              <a:ext uri="{FF2B5EF4-FFF2-40B4-BE49-F238E27FC236}">
                <a16:creationId xmlns:a16="http://schemas.microsoft.com/office/drawing/2014/main" id="{070C87B3-473D-BAA3-B871-825DD0DF37A4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991208" y="627534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2EDAD55-A7F4-5B25-A8DC-F70270CD04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1208" y="155725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5" name="Pladsholder til tekst 3">
            <a:extLst>
              <a:ext uri="{FF2B5EF4-FFF2-40B4-BE49-F238E27FC236}">
                <a16:creationId xmlns:a16="http://schemas.microsoft.com/office/drawing/2014/main" id="{BE721C77-7419-9D0B-B82F-06496C42C3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91208" y="1850162"/>
            <a:ext cx="1204528" cy="660558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6440A9A6-1676-EB07-0143-78F08C58E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1208" y="168878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26" name="Pladsholder til billede 5">
            <a:extLst>
              <a:ext uri="{FF2B5EF4-FFF2-40B4-BE49-F238E27FC236}">
                <a16:creationId xmlns:a16="http://schemas.microsoft.com/office/drawing/2014/main" id="{52F7139D-DBE9-49E3-AD47-49F68B4DA0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991208" y="2721034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7" name="Pladsholder til tekst 3">
            <a:extLst>
              <a:ext uri="{FF2B5EF4-FFF2-40B4-BE49-F238E27FC236}">
                <a16:creationId xmlns:a16="http://schemas.microsoft.com/office/drawing/2014/main" id="{7D58E26F-CC21-2BE4-4DCF-13DA0A74D6A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1208" y="365075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28" name="Pladsholder til tekst 3">
            <a:extLst>
              <a:ext uri="{FF2B5EF4-FFF2-40B4-BE49-F238E27FC236}">
                <a16:creationId xmlns:a16="http://schemas.microsoft.com/office/drawing/2014/main" id="{D38F5F6F-8901-83CA-0E99-FED48ED777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91208" y="3943662"/>
            <a:ext cx="1204528" cy="660558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9" name="Pladsholder til tekst 3">
            <a:extLst>
              <a:ext uri="{FF2B5EF4-FFF2-40B4-BE49-F238E27FC236}">
                <a16:creationId xmlns:a16="http://schemas.microsoft.com/office/drawing/2014/main" id="{37092885-5257-BABB-4AA8-D3BEE0040E0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1208" y="378228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30" name="Pladsholder til billede 5">
            <a:extLst>
              <a:ext uri="{FF2B5EF4-FFF2-40B4-BE49-F238E27FC236}">
                <a16:creationId xmlns:a16="http://schemas.microsoft.com/office/drawing/2014/main" id="{752348A9-5597-3F07-46DD-D20729280D5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3007432" y="627534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A5F34681-D03A-D647-6930-18A3459EAF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07432" y="155725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32" name="Pladsholder til tekst 3">
            <a:extLst>
              <a:ext uri="{FF2B5EF4-FFF2-40B4-BE49-F238E27FC236}">
                <a16:creationId xmlns:a16="http://schemas.microsoft.com/office/drawing/2014/main" id="{45577192-E8BA-EEE4-9B16-22FED0D7DF5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007432" y="1850162"/>
            <a:ext cx="1204528" cy="660558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3" name="Pladsholder til tekst 3">
            <a:extLst>
              <a:ext uri="{FF2B5EF4-FFF2-40B4-BE49-F238E27FC236}">
                <a16:creationId xmlns:a16="http://schemas.microsoft.com/office/drawing/2014/main" id="{5815B571-9779-C1AF-64F5-8EDE3B02F07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007432" y="168878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34" name="Pladsholder til billede 5">
            <a:extLst>
              <a:ext uri="{FF2B5EF4-FFF2-40B4-BE49-F238E27FC236}">
                <a16:creationId xmlns:a16="http://schemas.microsoft.com/office/drawing/2014/main" id="{B26DC89F-7A12-B691-C617-76B06988F9DF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3007432" y="2721034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5" name="Pladsholder til tekst 3">
            <a:extLst>
              <a:ext uri="{FF2B5EF4-FFF2-40B4-BE49-F238E27FC236}">
                <a16:creationId xmlns:a16="http://schemas.microsoft.com/office/drawing/2014/main" id="{492FCA12-2486-24F2-1D95-2EB6D99E1A4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07432" y="365075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36" name="Pladsholder til tekst 3">
            <a:extLst>
              <a:ext uri="{FF2B5EF4-FFF2-40B4-BE49-F238E27FC236}">
                <a16:creationId xmlns:a16="http://schemas.microsoft.com/office/drawing/2014/main" id="{AED307A9-CE03-126B-9BBF-4C71B9A5C87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007432" y="3943662"/>
            <a:ext cx="1204528" cy="660558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7" name="Pladsholder til tekst 3">
            <a:extLst>
              <a:ext uri="{FF2B5EF4-FFF2-40B4-BE49-F238E27FC236}">
                <a16:creationId xmlns:a16="http://schemas.microsoft.com/office/drawing/2014/main" id="{25770854-1AB2-BEED-49E5-50DBAEF9CC1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007432" y="378228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38" name="Pladsholder til billede 5">
            <a:extLst>
              <a:ext uri="{FF2B5EF4-FFF2-40B4-BE49-F238E27FC236}">
                <a16:creationId xmlns:a16="http://schemas.microsoft.com/office/drawing/2014/main" id="{9A8839BE-BCDC-AD49-E7BA-A13DD595AE50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5004048" y="627534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9" name="Pladsholder til tekst 3">
            <a:extLst>
              <a:ext uri="{FF2B5EF4-FFF2-40B4-BE49-F238E27FC236}">
                <a16:creationId xmlns:a16="http://schemas.microsoft.com/office/drawing/2014/main" id="{3C972379-45CA-485C-F05D-22EE26FF65A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004048" y="155725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40" name="Pladsholder til tekst 3">
            <a:extLst>
              <a:ext uri="{FF2B5EF4-FFF2-40B4-BE49-F238E27FC236}">
                <a16:creationId xmlns:a16="http://schemas.microsoft.com/office/drawing/2014/main" id="{D22ADD90-A469-EA83-BC5C-F6D540FE6EB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04048" y="1850162"/>
            <a:ext cx="1204528" cy="660558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1" name="Pladsholder til tekst 3">
            <a:extLst>
              <a:ext uri="{FF2B5EF4-FFF2-40B4-BE49-F238E27FC236}">
                <a16:creationId xmlns:a16="http://schemas.microsoft.com/office/drawing/2014/main" id="{B43AC2A4-EAF6-02C4-3DAD-7CA93700F67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004048" y="168878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42" name="Pladsholder til billede 5">
            <a:extLst>
              <a:ext uri="{FF2B5EF4-FFF2-40B4-BE49-F238E27FC236}">
                <a16:creationId xmlns:a16="http://schemas.microsoft.com/office/drawing/2014/main" id="{2017DEA4-D10B-DEE9-F34D-90B4E40282AB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5004048" y="2721034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3" name="Pladsholder til tekst 3">
            <a:extLst>
              <a:ext uri="{FF2B5EF4-FFF2-40B4-BE49-F238E27FC236}">
                <a16:creationId xmlns:a16="http://schemas.microsoft.com/office/drawing/2014/main" id="{F3A62A56-01E8-4B90-7156-C3B55513FE6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004048" y="365075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44" name="Pladsholder til tekst 3">
            <a:extLst>
              <a:ext uri="{FF2B5EF4-FFF2-40B4-BE49-F238E27FC236}">
                <a16:creationId xmlns:a16="http://schemas.microsoft.com/office/drawing/2014/main" id="{CA390537-41AA-96C4-BDC6-92205634F20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004048" y="3943662"/>
            <a:ext cx="1204528" cy="660558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5" name="Pladsholder til tekst 3">
            <a:extLst>
              <a:ext uri="{FF2B5EF4-FFF2-40B4-BE49-F238E27FC236}">
                <a16:creationId xmlns:a16="http://schemas.microsoft.com/office/drawing/2014/main" id="{064E771F-2833-D7A8-474D-971E3EFAD4B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04048" y="378228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46" name="Pladsholder til billede 5">
            <a:extLst>
              <a:ext uri="{FF2B5EF4-FFF2-40B4-BE49-F238E27FC236}">
                <a16:creationId xmlns:a16="http://schemas.microsoft.com/office/drawing/2014/main" id="{55A0913D-6450-E057-A1B9-467BAE964666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7020272" y="627534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7" name="Pladsholder til tekst 3">
            <a:extLst>
              <a:ext uri="{FF2B5EF4-FFF2-40B4-BE49-F238E27FC236}">
                <a16:creationId xmlns:a16="http://schemas.microsoft.com/office/drawing/2014/main" id="{E9A712D1-8090-90E2-5EDD-73545C2ED9E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020272" y="155725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48" name="Pladsholder til tekst 3">
            <a:extLst>
              <a:ext uri="{FF2B5EF4-FFF2-40B4-BE49-F238E27FC236}">
                <a16:creationId xmlns:a16="http://schemas.microsoft.com/office/drawing/2014/main" id="{56D11550-8BF7-6A1C-BCDF-73DEB114561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20272" y="1850162"/>
            <a:ext cx="1204528" cy="660558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9" name="Pladsholder til tekst 3">
            <a:extLst>
              <a:ext uri="{FF2B5EF4-FFF2-40B4-BE49-F238E27FC236}">
                <a16:creationId xmlns:a16="http://schemas.microsoft.com/office/drawing/2014/main" id="{17158A51-3540-2BEE-C30F-6B8CDD92F21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020272" y="168878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  <p:sp>
        <p:nvSpPr>
          <p:cNvPr id="50" name="Pladsholder til billede 5">
            <a:extLst>
              <a:ext uri="{FF2B5EF4-FFF2-40B4-BE49-F238E27FC236}">
                <a16:creationId xmlns:a16="http://schemas.microsoft.com/office/drawing/2014/main" id="{B7280D40-4DBE-58C9-F982-D5EB8480883F}"/>
              </a:ext>
            </a:extLst>
          </p:cNvPr>
          <p:cNvSpPr>
            <a:spLocks noGrp="1" noChangeAspect="1"/>
          </p:cNvSpPr>
          <p:nvPr>
            <p:ph type="pic" sz="quarter" idx="45"/>
          </p:nvPr>
        </p:nvSpPr>
        <p:spPr>
          <a:xfrm>
            <a:off x="7020272" y="2721034"/>
            <a:ext cx="864096" cy="864096"/>
          </a:xfrm>
          <a:prstGeom prst="rect">
            <a:avLst/>
          </a:prstGeom>
          <a:noFill/>
        </p:spPr>
        <p:txBody>
          <a:bodyPr lIns="72000" rIns="72000" anchor="t"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51" name="Pladsholder til tekst 3">
            <a:extLst>
              <a:ext uri="{FF2B5EF4-FFF2-40B4-BE49-F238E27FC236}">
                <a16:creationId xmlns:a16="http://schemas.microsoft.com/office/drawing/2014/main" id="{C66A282C-E1EF-CD39-FF37-01DC8A0ED52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020272" y="365075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Fornavn</a:t>
            </a:r>
          </a:p>
        </p:txBody>
      </p:sp>
      <p:sp>
        <p:nvSpPr>
          <p:cNvPr id="52" name="Pladsholder til tekst 3">
            <a:extLst>
              <a:ext uri="{FF2B5EF4-FFF2-40B4-BE49-F238E27FC236}">
                <a16:creationId xmlns:a16="http://schemas.microsoft.com/office/drawing/2014/main" id="{6B26AE57-DF32-3B12-88AA-D432FA981EF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020272" y="3943662"/>
            <a:ext cx="1204528" cy="660558"/>
          </a:xfrm>
        </p:spPr>
        <p:txBody>
          <a:bodyPr rIns="0" anchor="t"/>
          <a:lstStyle>
            <a:lvl1pPr marL="0" indent="0" algn="l">
              <a:buNone/>
              <a:defRPr sz="800" b="0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3" name="Pladsholder til tekst 3">
            <a:extLst>
              <a:ext uri="{FF2B5EF4-FFF2-40B4-BE49-F238E27FC236}">
                <a16:creationId xmlns:a16="http://schemas.microsoft.com/office/drawing/2014/main" id="{70A575D0-4A19-2707-2E57-1C528C7BD75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020272" y="3782284"/>
            <a:ext cx="1204528" cy="108000"/>
          </a:xfrm>
        </p:spPr>
        <p:txBody>
          <a:bodyPr rIns="0" anchor="t"/>
          <a:lstStyle>
            <a:lvl1pPr marL="0" indent="0" algn="l">
              <a:buNone/>
              <a:defRPr sz="900" b="1" i="0" kern="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 dirty="0"/>
              <a:t>Efternavn</a:t>
            </a:r>
          </a:p>
        </p:txBody>
      </p:sp>
    </p:spTree>
    <p:extLst>
      <p:ext uri="{BB962C8B-B14F-4D97-AF65-F5344CB8AC3E}">
        <p14:creationId xmlns:p14="http://schemas.microsoft.com/office/powerpoint/2010/main" val="8185576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2CCE40-CB87-CF3D-3C78-4E5925E60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2044" y="2175706"/>
            <a:ext cx="6119911" cy="792088"/>
          </a:xfrm>
        </p:spPr>
        <p:txBody>
          <a:bodyPr anchor="ctr"/>
          <a:lstStyle>
            <a:lvl1pPr algn="ctr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for at redigere titeltypografien </a:t>
            </a:r>
            <a:br>
              <a:rPr lang="da-DK" dirty="0"/>
            </a:br>
            <a:r>
              <a:rPr lang="da-DK" dirty="0"/>
              <a:t>i masteren</a:t>
            </a:r>
            <a:endParaRPr lang="en-GB" dirty="0"/>
          </a:p>
        </p:txBody>
      </p:sp>
      <p:sp>
        <p:nvSpPr>
          <p:cNvPr id="3" name="Pladsholder til tekst 6">
            <a:extLst>
              <a:ext uri="{FF2B5EF4-FFF2-40B4-BE49-F238E27FC236}">
                <a16:creationId xmlns:a16="http://schemas.microsoft.com/office/drawing/2014/main" id="{88E82764-40A9-FF34-977C-F956EE92FDA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219600" cy="219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0183355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DD8828A6-E585-6B4F-A1C8-1DBE695592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solidFill>
            <a:srgbClr val="111111">
              <a:alpha val="10000"/>
            </a:srgbClr>
          </a:solidFill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CA1908E-B102-3A42-9341-8E6A8F890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672" y="1419623"/>
            <a:ext cx="5904656" cy="1152128"/>
          </a:xfrm>
        </p:spPr>
        <p:txBody>
          <a:bodyPr anchor="b"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496093B-37A6-AD4C-9138-3E8BD436EB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07704" y="2715766"/>
            <a:ext cx="5328592" cy="1152128"/>
          </a:xfrm>
        </p:spPr>
        <p:txBody>
          <a:bodyPr rIns="0" anchor="t"/>
          <a:lstStyle>
            <a:lvl1pPr marL="0" indent="0" algn="ctr">
              <a:buNone/>
              <a:defRPr sz="1100" kern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Pladsholder til tekst 6">
            <a:extLst>
              <a:ext uri="{FF2B5EF4-FFF2-40B4-BE49-F238E27FC236}">
                <a16:creationId xmlns:a16="http://schemas.microsoft.com/office/drawing/2014/main" id="{62788691-1556-FA1E-C496-6C79B160F7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219600" cy="219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686354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pto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35BA2296-979E-3FB0-09F8-0AD56B4FF9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822" r="3939" b="5345"/>
          <a:stretch/>
        </p:blipFill>
        <p:spPr>
          <a:xfrm>
            <a:off x="2555776" y="788063"/>
            <a:ext cx="6408837" cy="4355437"/>
          </a:xfrm>
          <a:prstGeom prst="rect">
            <a:avLst/>
          </a:prstGeom>
        </p:spPr>
      </p:pic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DD8828A6-E585-6B4F-A1C8-1DBE695592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52326" y="931985"/>
            <a:ext cx="4744424" cy="3024319"/>
          </a:xfrm>
          <a:prstGeom prst="roundRect">
            <a:avLst>
              <a:gd name="adj" fmla="val 2571"/>
            </a:avLst>
          </a:prstGeom>
          <a:solidFill>
            <a:schemeClr val="bg2"/>
          </a:soli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CA1908E-B102-3A42-9341-8E6A8F890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600" y="2068092"/>
            <a:ext cx="2088232" cy="1152127"/>
          </a:xfrm>
        </p:spPr>
        <p:txBody>
          <a:bodyPr anchor="t"/>
          <a:lstStyle>
            <a:lvl1pPr algn="l">
              <a:defRPr sz="240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496093B-37A6-AD4C-9138-3E8BD436EB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71600" y="1635646"/>
            <a:ext cx="2088232" cy="360437"/>
          </a:xfrm>
        </p:spPr>
        <p:txBody>
          <a:bodyPr rIns="0" anchor="b"/>
          <a:lstStyle>
            <a:lvl1pPr marL="0" indent="0" algn="l">
              <a:buNone/>
              <a:defRPr sz="1000" b="0" i="0" kern="0" cap="all" baseline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Pladsholder til tekst 6">
            <a:extLst>
              <a:ext uri="{FF2B5EF4-FFF2-40B4-BE49-F238E27FC236}">
                <a16:creationId xmlns:a16="http://schemas.microsoft.com/office/drawing/2014/main" id="{62788691-1556-FA1E-C496-6C79B160F7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219600" cy="219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257625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2CCE40-CB87-CF3D-3C78-4E5925E60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1432426"/>
            <a:ext cx="6119911" cy="792088"/>
          </a:xfrm>
        </p:spPr>
        <p:txBody>
          <a:bodyPr anchor="b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da-DK" dirty="0"/>
              <a:t>Klik for at redigere titeltypografien </a:t>
            </a:r>
            <a:br>
              <a:rPr lang="da-DK" dirty="0"/>
            </a:br>
            <a:r>
              <a:rPr lang="da-DK" dirty="0"/>
              <a:t>i masteren</a:t>
            </a:r>
            <a:endParaRPr lang="en-GB" dirty="0"/>
          </a:p>
        </p:txBody>
      </p:sp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5757799A-0EC8-8FFE-391A-C705EF55A0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386850"/>
            <a:ext cx="6119911" cy="1133807"/>
          </a:xfrm>
        </p:spPr>
        <p:txBody>
          <a:bodyPr rIns="0" anchor="t"/>
          <a:lstStyle>
            <a:lvl1pPr marL="0" indent="0" algn="l">
              <a:buNone/>
              <a:defRPr sz="1000" kern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5E4B189C-EB9E-B29C-4996-6E838DA7927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1321200" cy="219600"/>
          </a:xfrm>
          <a:blipFill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5965AB0-015A-C66F-16C5-72EE8BC8D51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41757" y="431651"/>
            <a:ext cx="931391" cy="4284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1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990C8EEF-CE7A-51CE-1C18-940BF683D7EE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6864" r="1466" b="1287"/>
          <a:stretch/>
        </p:blipFill>
        <p:spPr>
          <a:xfrm>
            <a:off x="2411760" y="843558"/>
            <a:ext cx="6732240" cy="4299942"/>
          </a:xfrm>
          <a:prstGeom prst="rect">
            <a:avLst/>
          </a:prstGeom>
        </p:spPr>
      </p:pic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DD8828A6-E585-6B4F-A1C8-1DBE695592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52326" y="968122"/>
            <a:ext cx="4744424" cy="2988182"/>
          </a:xfrm>
          <a:prstGeom prst="roundRect">
            <a:avLst>
              <a:gd name="adj" fmla="val 2613"/>
            </a:avLst>
          </a:prstGeom>
          <a:solidFill>
            <a:schemeClr val="bg2"/>
          </a:soli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CA1908E-B102-3A42-9341-8E6A8F890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600" y="2068092"/>
            <a:ext cx="2088232" cy="1152127"/>
          </a:xfrm>
        </p:spPr>
        <p:txBody>
          <a:bodyPr anchor="t"/>
          <a:lstStyle>
            <a:lvl1pPr algn="l">
              <a:defRPr sz="240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496093B-37A6-AD4C-9138-3E8BD436EB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71600" y="1635646"/>
            <a:ext cx="2088232" cy="360437"/>
          </a:xfrm>
        </p:spPr>
        <p:txBody>
          <a:bodyPr rIns="0" anchor="b"/>
          <a:lstStyle>
            <a:lvl1pPr marL="0" indent="0" algn="l">
              <a:buNone/>
              <a:defRPr lang="da-DK" sz="1000" b="0" i="0" kern="0" cap="all" baseline="0" smtClean="0">
                <a:solidFill>
                  <a:srgbClr val="878787"/>
                </a:solidFill>
                <a:latin typeface="Neue Haas Grotesk Text Pro" panose="020B0504020202020204" pitchFamily="34" charset="77"/>
                <a:ea typeface="+mn-ea"/>
                <a:cs typeface="Arial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Pladsholder til tekst 6">
            <a:extLst>
              <a:ext uri="{FF2B5EF4-FFF2-40B4-BE49-F238E27FC236}">
                <a16:creationId xmlns:a16="http://schemas.microsoft.com/office/drawing/2014/main" id="{62788691-1556-FA1E-C496-6C79B160F7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219600" cy="219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7734838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rtpho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E5159541-E76D-3FB8-C96E-91B4E9E95D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6216" y="484188"/>
            <a:ext cx="4180683" cy="4659312"/>
          </a:xfrm>
          <a:prstGeom prst="rect">
            <a:avLst/>
          </a:prstGeom>
        </p:spPr>
      </p:pic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DD8828A6-E585-6B4F-A1C8-1DBE695592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21251" y="541909"/>
            <a:ext cx="1895474" cy="4094608"/>
          </a:xfrm>
          <a:prstGeom prst="roundRect">
            <a:avLst>
              <a:gd name="adj" fmla="val 3616"/>
            </a:avLst>
          </a:prstGeom>
          <a:solidFill>
            <a:schemeClr val="bg2"/>
          </a:soli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CA1908E-B102-3A42-9341-8E6A8F890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600" y="2068092"/>
            <a:ext cx="2088232" cy="1152127"/>
          </a:xfrm>
        </p:spPr>
        <p:txBody>
          <a:bodyPr anchor="t"/>
          <a:lstStyle>
            <a:lvl1pPr algn="l">
              <a:defRPr sz="2400" baseline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496093B-37A6-AD4C-9138-3E8BD436EB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71600" y="1635646"/>
            <a:ext cx="2088232" cy="360437"/>
          </a:xfrm>
        </p:spPr>
        <p:txBody>
          <a:bodyPr rIns="0" anchor="b"/>
          <a:lstStyle>
            <a:lvl1pPr marL="0" indent="0" algn="l">
              <a:buNone/>
              <a:defRPr lang="da-DK" sz="1000" b="0" i="0" kern="0" cap="all" baseline="0" smtClean="0">
                <a:solidFill>
                  <a:srgbClr val="878787"/>
                </a:solidFill>
                <a:latin typeface="Neue Haas Grotesk Text Pro" panose="020B0504020202020204" pitchFamily="34" charset="77"/>
                <a:ea typeface="+mn-ea"/>
                <a:cs typeface="Arial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Pladsholder til tekst 6">
            <a:extLst>
              <a:ext uri="{FF2B5EF4-FFF2-40B4-BE49-F238E27FC236}">
                <a16:creationId xmlns:a16="http://schemas.microsoft.com/office/drawing/2014/main" id="{62788691-1556-FA1E-C496-6C79B160F7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219600" cy="219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9753116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7503E-2469-3E05-3EA0-4DF2EED4D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680" y="1635744"/>
            <a:ext cx="6552728" cy="129604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3" name="Pladsholder til tekst 3">
            <a:extLst>
              <a:ext uri="{FF2B5EF4-FFF2-40B4-BE49-F238E27FC236}">
                <a16:creationId xmlns:a16="http://schemas.microsoft.com/office/drawing/2014/main" id="{F479E89F-175C-C02F-72CE-0AE3ABC839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680" y="2931790"/>
            <a:ext cx="6552728" cy="216024"/>
          </a:xfrm>
        </p:spPr>
        <p:txBody>
          <a:bodyPr rIns="0" anchor="t"/>
          <a:lstStyle>
            <a:lvl1pPr marL="0" indent="0" algn="l">
              <a:buNone/>
              <a:defRPr sz="1100" kern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9305FE54-DDF6-0A14-2408-33976177F0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5576" y="1332632"/>
            <a:ext cx="683537" cy="50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7958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tende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5">
            <a:extLst>
              <a:ext uri="{FF2B5EF4-FFF2-40B4-BE49-F238E27FC236}">
                <a16:creationId xmlns:a16="http://schemas.microsoft.com/office/drawing/2014/main" id="{21388F4B-459C-62E7-B17F-7FDB3EC404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572000" cy="5143499"/>
          </a:xfrm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4635518-A0E4-AE02-8A01-B963156D6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48263" y="1419225"/>
            <a:ext cx="2880121" cy="216421"/>
          </a:xfrm>
        </p:spPr>
        <p:txBody>
          <a:bodyPr/>
          <a:lstStyle>
            <a:lvl1pPr marL="0" indent="0">
              <a:buNone/>
              <a:defRPr sz="1000" b="1" i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" name="Pladsholder til tekst 6">
            <a:extLst>
              <a:ext uri="{FF2B5EF4-FFF2-40B4-BE49-F238E27FC236}">
                <a16:creationId xmlns:a16="http://schemas.microsoft.com/office/drawing/2014/main" id="{AA27B9A2-5D4D-7109-EA87-D243A871B71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219600" cy="219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44FB3C53-B6B9-8DE9-14A0-F134E791ED7E}"/>
              </a:ext>
            </a:extLst>
          </p:cNvPr>
          <p:cNvSpPr>
            <a:spLocks noGrp="1" noChangeAspect="1"/>
          </p:cNvSpPr>
          <p:nvPr>
            <p:ph type="body" sz="quarter" idx="19"/>
          </p:nvPr>
        </p:nvSpPr>
        <p:spPr>
          <a:xfrm>
            <a:off x="5148263" y="1635646"/>
            <a:ext cx="1188000" cy="1188000"/>
          </a:xfrm>
          <a:solidFill>
            <a:schemeClr val="bg2"/>
          </a:solidFill>
        </p:spPr>
        <p:txBody>
          <a:bodyPr lIns="144000" tIns="72000" rIns="144000" bIns="72000" anchor="ctr"/>
          <a:lstStyle>
            <a:lvl1pPr marL="0" indent="0" algn="ctr">
              <a:buNone/>
              <a:defRPr sz="800" b="0" i="0">
                <a:latin typeface="Neue Haas Grotesk Text Pro" panose="020B0504020202020204" pitchFamily="34" charset="77"/>
              </a:defRPr>
            </a:lvl1pPr>
            <a:lvl2pPr marL="72000" indent="0" algn="ctr">
              <a:buNone/>
              <a:defRPr sz="700" b="0" i="0">
                <a:latin typeface="Helvetica" pitchFamily="2" charset="0"/>
              </a:defRPr>
            </a:lvl2pPr>
            <a:lvl3pPr marL="252000" indent="0" algn="ctr">
              <a:buNone/>
              <a:defRPr sz="600" b="0" i="0">
                <a:latin typeface="Helvetica" pitchFamily="2" charset="0"/>
              </a:defRPr>
            </a:lvl3pPr>
            <a:lvl4pPr marL="378000" indent="0" algn="ctr">
              <a:buFont typeface="Arial" panose="020B0604020202020204" pitchFamily="34" charset="0"/>
              <a:buNone/>
              <a:defRPr sz="700" b="0" i="0">
                <a:latin typeface="Helvetica" pitchFamily="2" charset="0"/>
              </a:defRPr>
            </a:lvl4pPr>
            <a:lvl5pPr marL="252000" indent="0" algn="ctr">
              <a:buNone/>
              <a:defRPr sz="600" b="0" i="0">
                <a:latin typeface="Helvetica" pitchFamily="2" charset="0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Pladsholder til tekst 8">
            <a:extLst>
              <a:ext uri="{FF2B5EF4-FFF2-40B4-BE49-F238E27FC236}">
                <a16:creationId xmlns:a16="http://schemas.microsoft.com/office/drawing/2014/main" id="{3D9F1629-6815-2D36-E116-E5D22010D8C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5148263" y="2975896"/>
            <a:ext cx="1188000" cy="1188000"/>
          </a:xfrm>
          <a:solidFill>
            <a:schemeClr val="bg2"/>
          </a:solidFill>
        </p:spPr>
        <p:txBody>
          <a:bodyPr lIns="144000" tIns="72000" rIns="144000" bIns="72000" anchor="ctr"/>
          <a:lstStyle>
            <a:lvl1pPr marL="0" indent="0" algn="ctr">
              <a:buNone/>
              <a:defRPr sz="800" b="0" i="0">
                <a:latin typeface="Neue Haas Grotesk Text Pro" panose="020B0504020202020204" pitchFamily="34" charset="77"/>
              </a:defRPr>
            </a:lvl1pPr>
            <a:lvl2pPr marL="72000" indent="0" algn="ctr">
              <a:buNone/>
              <a:defRPr sz="700" b="0" i="0">
                <a:latin typeface="Helvetica" pitchFamily="2" charset="0"/>
              </a:defRPr>
            </a:lvl2pPr>
            <a:lvl3pPr marL="252000" indent="0" algn="ctr">
              <a:buNone/>
              <a:defRPr sz="600" b="0" i="0">
                <a:latin typeface="Helvetica" pitchFamily="2" charset="0"/>
              </a:defRPr>
            </a:lvl3pPr>
            <a:lvl4pPr marL="378000" indent="0" algn="ctr">
              <a:buFont typeface="Arial" panose="020B0604020202020204" pitchFamily="34" charset="0"/>
              <a:buNone/>
              <a:defRPr sz="700" b="0" i="0">
                <a:latin typeface="Helvetica" pitchFamily="2" charset="0"/>
              </a:defRPr>
            </a:lvl4pPr>
            <a:lvl5pPr marL="252000" indent="0" algn="ctr">
              <a:buNone/>
              <a:defRPr sz="600" b="0" i="0">
                <a:latin typeface="Helvetica" pitchFamily="2" charset="0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4" name="Pladsholder til tekst 8">
            <a:extLst>
              <a:ext uri="{FF2B5EF4-FFF2-40B4-BE49-F238E27FC236}">
                <a16:creationId xmlns:a16="http://schemas.microsoft.com/office/drawing/2014/main" id="{51D22C36-A4AD-B530-07AC-5C2F4E49745E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>
          <a:xfrm>
            <a:off x="6516216" y="1635646"/>
            <a:ext cx="1188000" cy="2528250"/>
          </a:xfrm>
          <a:solidFill>
            <a:schemeClr val="bg2"/>
          </a:solidFill>
        </p:spPr>
        <p:txBody>
          <a:bodyPr lIns="144000" tIns="72000" rIns="144000" bIns="72000" anchor="ctr"/>
          <a:lstStyle>
            <a:lvl1pPr marL="0" indent="0" algn="ctr">
              <a:buNone/>
              <a:defRPr sz="800" b="0" i="0">
                <a:latin typeface="Neue Haas Grotesk Text Pro" panose="020B0504020202020204" pitchFamily="34" charset="77"/>
              </a:defRPr>
            </a:lvl1pPr>
            <a:lvl2pPr marL="72000" indent="0" algn="ctr">
              <a:buNone/>
              <a:defRPr sz="700" b="0" i="0">
                <a:latin typeface="Helvetica" pitchFamily="2" charset="0"/>
              </a:defRPr>
            </a:lvl2pPr>
            <a:lvl3pPr marL="252000" indent="0" algn="ctr">
              <a:buNone/>
              <a:defRPr sz="600" b="0" i="0">
                <a:latin typeface="Helvetica" pitchFamily="2" charset="0"/>
              </a:defRPr>
            </a:lvl3pPr>
            <a:lvl4pPr marL="378000" indent="0" algn="ctr">
              <a:buFont typeface="Arial" panose="020B0604020202020204" pitchFamily="34" charset="0"/>
              <a:buNone/>
              <a:defRPr sz="700" b="0" i="0">
                <a:latin typeface="Helvetica" pitchFamily="2" charset="0"/>
              </a:defRPr>
            </a:lvl4pPr>
            <a:lvl5pPr marL="252000" indent="0" algn="ctr">
              <a:buNone/>
              <a:defRPr sz="600" b="0" i="0">
                <a:latin typeface="Helvetica" pitchFamily="2" charset="0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0715977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025"/>
              </a:lnSpc>
              <a:defRPr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A0179-0B7F-4AA7-BF6B-D85CB361598C}" type="datetimeFigureOut">
              <a:rPr lang="en-US" dirty="0"/>
              <a:t>4/7/2025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22A33-96DC-4C2E-AB13-0BE35979BFC0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3993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aktisk inform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002998-56E0-B41C-4611-6E392593E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55625"/>
            <a:ext cx="4103687" cy="64797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4635518-A0E4-AE02-8A01-B963156D6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48263" y="1419225"/>
            <a:ext cx="3527425" cy="216421"/>
          </a:xfrm>
        </p:spPr>
        <p:txBody>
          <a:bodyPr/>
          <a:lstStyle>
            <a:lvl1pPr marL="0" indent="0">
              <a:buNone/>
              <a:defRPr sz="900" b="1" i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E6AF5B2-3A69-1F49-DA1A-FED935DE1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8313" y="339998"/>
            <a:ext cx="4103687" cy="144190"/>
          </a:xfrm>
        </p:spPr>
        <p:txBody>
          <a:bodyPr lIns="14400" rIns="0"/>
          <a:lstStyle>
            <a:lvl1pPr marL="0" indent="0">
              <a:buFont typeface="Arial" panose="020B0604020202020204" pitchFamily="34" charset="0"/>
              <a:buNone/>
              <a:defRPr sz="900" b="0" i="0" cap="all" baseline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  <a:lvl2pPr marL="72000" indent="0">
              <a:buNone/>
              <a:defRPr sz="1000">
                <a:latin typeface="Helvetica" pitchFamily="2" charset="0"/>
              </a:defRPr>
            </a:lvl2pPr>
            <a:lvl3pPr marL="252000" indent="0">
              <a:buNone/>
              <a:defRPr sz="1000">
                <a:latin typeface="Helvetica" pitchFamily="2" charset="0"/>
              </a:defRPr>
            </a:lvl3pPr>
            <a:lvl4pPr marL="378000" indent="0">
              <a:buFont typeface="Arial" panose="020B0604020202020204" pitchFamily="34" charset="0"/>
              <a:buNone/>
              <a:defRPr sz="1000">
                <a:latin typeface="Helvetica" pitchFamily="2" charset="0"/>
              </a:defRPr>
            </a:lvl4pPr>
            <a:lvl5pPr marL="252000" indent="0">
              <a:buNone/>
              <a:defRPr sz="1000">
                <a:latin typeface="Helvetica" pitchFamily="2" charset="0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billede 5">
            <a:extLst>
              <a:ext uri="{FF2B5EF4-FFF2-40B4-BE49-F238E27FC236}">
                <a16:creationId xmlns:a16="http://schemas.microsoft.com/office/drawing/2014/main" id="{21388F4B-459C-62E7-B17F-7FDB3EC404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8024" y="1419225"/>
            <a:ext cx="4093976" cy="2744671"/>
          </a:xfrm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7" name="Pladsholder til billede 5">
            <a:extLst>
              <a:ext uri="{FF2B5EF4-FFF2-40B4-BE49-F238E27FC236}">
                <a16:creationId xmlns:a16="http://schemas.microsoft.com/office/drawing/2014/main" id="{77EC8576-0A38-6769-42D1-8B5E6AD53A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263" y="1635646"/>
            <a:ext cx="1188000" cy="11880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0" name="Pladsholder til billede 5">
            <a:extLst>
              <a:ext uri="{FF2B5EF4-FFF2-40B4-BE49-F238E27FC236}">
                <a16:creationId xmlns:a16="http://schemas.microsoft.com/office/drawing/2014/main" id="{5906595F-88BF-36BE-8F21-A36BEB58053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16216" y="1635646"/>
            <a:ext cx="1188000" cy="11880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1" name="Pladsholder til billede 5">
            <a:extLst>
              <a:ext uri="{FF2B5EF4-FFF2-40B4-BE49-F238E27FC236}">
                <a16:creationId xmlns:a16="http://schemas.microsoft.com/office/drawing/2014/main" id="{954D426C-919B-F18D-AB1A-C6AEB7F34A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148263" y="2975896"/>
            <a:ext cx="1188000" cy="11880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2" name="Pladsholder til billede 5">
            <a:extLst>
              <a:ext uri="{FF2B5EF4-FFF2-40B4-BE49-F238E27FC236}">
                <a16:creationId xmlns:a16="http://schemas.microsoft.com/office/drawing/2014/main" id="{53BEA6E0-35DA-9638-DF8F-3D83566A5C1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516216" y="2975896"/>
            <a:ext cx="1188000" cy="11880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81014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2CCE40-CB87-CF3D-3C78-4E5925E60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7724" y="1432426"/>
            <a:ext cx="4133844" cy="851292"/>
          </a:xfrm>
        </p:spPr>
        <p:txBody>
          <a:bodyPr/>
          <a:lstStyle/>
          <a:p>
            <a:r>
              <a:rPr lang="da-DK" dirty="0"/>
              <a:t>Klik for at redigere titeltypografien </a:t>
            </a:r>
            <a:br>
              <a:rPr lang="da-DK" dirty="0"/>
            </a:br>
            <a:r>
              <a:rPr lang="da-DK" dirty="0"/>
              <a:t>i masteren</a:t>
            </a:r>
            <a:endParaRPr lang="en-GB" dirty="0"/>
          </a:p>
        </p:txBody>
      </p:sp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BA85E7DA-4203-7EC9-6E21-3D96E20746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211638" cy="5143500"/>
          </a:xfrm>
        </p:spPr>
        <p:txBody>
          <a:bodyPr/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5757799A-0EC8-8FFE-391A-C705EF55A0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7724" y="2386850"/>
            <a:ext cx="4103688" cy="1133807"/>
          </a:xfrm>
        </p:spPr>
        <p:txBody>
          <a:bodyPr rIns="0" anchor="t"/>
          <a:lstStyle>
            <a:lvl1pPr marL="0" indent="0" algn="l">
              <a:buNone/>
              <a:defRPr sz="1100" kern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5E4B189C-EB9E-B29C-4996-6E838DA7927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1321200" cy="219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1DF2657B-0646-B25C-D39F-5EE3E28233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48588" y="4732213"/>
            <a:ext cx="216025" cy="216025"/>
          </a:xfrm>
          <a:prstGeom prst="rect">
            <a:avLst/>
          </a:prstGeom>
        </p:spPr>
      </p:pic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18343D45-F3C0-F194-BF94-81A130D972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7725" y="1160278"/>
            <a:ext cx="4103687" cy="144190"/>
          </a:xfrm>
        </p:spPr>
        <p:txBody>
          <a:bodyPr lIns="14400" rIns="0"/>
          <a:lstStyle>
            <a:lvl1pPr marL="0" indent="0">
              <a:buFont typeface="Arial" panose="020B0604020202020204" pitchFamily="34" charset="0"/>
              <a:buNone/>
              <a:defRPr sz="1000" b="0" i="0" cap="all" baseline="0">
                <a:solidFill>
                  <a:schemeClr val="accent1"/>
                </a:solidFill>
                <a:latin typeface="Neue Haas Grotesk Text Pro" panose="020B0504020202020204" pitchFamily="34" charset="77"/>
              </a:defRPr>
            </a:lvl1pPr>
            <a:lvl2pPr marL="72000" indent="0">
              <a:buNone/>
              <a:defRPr sz="1000">
                <a:latin typeface="Helvetica" pitchFamily="2" charset="0"/>
              </a:defRPr>
            </a:lvl2pPr>
            <a:lvl3pPr marL="252000" indent="0">
              <a:buNone/>
              <a:defRPr sz="1000">
                <a:latin typeface="Helvetica" pitchFamily="2" charset="0"/>
              </a:defRPr>
            </a:lvl3pPr>
            <a:lvl4pPr marL="378000" indent="0">
              <a:buFont typeface="Arial" panose="020B0604020202020204" pitchFamily="34" charset="0"/>
              <a:buNone/>
              <a:defRPr sz="1000">
                <a:latin typeface="Helvetica" pitchFamily="2" charset="0"/>
              </a:defRPr>
            </a:lvl4pPr>
            <a:lvl5pPr marL="252000" indent="0">
              <a:buNone/>
              <a:defRPr sz="1000">
                <a:latin typeface="Helvetica" pitchFamily="2" charset="0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637005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002998-56E0-B41C-4611-6E392593E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4635518-A0E4-AE02-8A01-B963156D6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13" y="1419225"/>
            <a:ext cx="8207376" cy="31686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E6AF5B2-3A69-1F49-DA1A-FED935DE1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8313" y="339998"/>
            <a:ext cx="4103687" cy="144190"/>
          </a:xfrm>
        </p:spPr>
        <p:txBody>
          <a:bodyPr lIns="14400" rIns="0"/>
          <a:lstStyle>
            <a:lvl1pPr marL="0" indent="0">
              <a:buFont typeface="Arial" panose="020B0604020202020204" pitchFamily="34" charset="0"/>
              <a:buNone/>
              <a:defRPr sz="1000" b="0" i="0" cap="all" baseline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  <a:lvl2pPr marL="72000" indent="0">
              <a:buNone/>
              <a:defRPr sz="1000">
                <a:latin typeface="Helvetica" pitchFamily="2" charset="0"/>
              </a:defRPr>
            </a:lvl2pPr>
            <a:lvl3pPr marL="252000" indent="0">
              <a:buNone/>
              <a:defRPr sz="1000">
                <a:latin typeface="Helvetica" pitchFamily="2" charset="0"/>
              </a:defRPr>
            </a:lvl3pPr>
            <a:lvl4pPr marL="378000" indent="0">
              <a:buFont typeface="Arial" panose="020B0604020202020204" pitchFamily="34" charset="0"/>
              <a:buNone/>
              <a:defRPr sz="1000">
                <a:latin typeface="Helvetica" pitchFamily="2" charset="0"/>
              </a:defRPr>
            </a:lvl4pPr>
            <a:lvl5pPr marL="252000" indent="0">
              <a:buNone/>
              <a:defRPr sz="1000">
                <a:latin typeface="Helvetica" pitchFamily="2" charset="0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9494112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ktisk inform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002998-56E0-B41C-4611-6E392593E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55625"/>
            <a:ext cx="4103687" cy="64797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4635518-A0E4-AE02-8A01-B963156D6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48263" y="1419225"/>
            <a:ext cx="3527425" cy="216421"/>
          </a:xfrm>
        </p:spPr>
        <p:txBody>
          <a:bodyPr/>
          <a:lstStyle>
            <a:lvl1pPr marL="0" indent="0">
              <a:buNone/>
              <a:defRPr sz="1000" b="1" i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E6AF5B2-3A69-1F49-DA1A-FED935DE1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8313" y="339998"/>
            <a:ext cx="4103687" cy="144190"/>
          </a:xfrm>
        </p:spPr>
        <p:txBody>
          <a:bodyPr lIns="14400" rIns="0"/>
          <a:lstStyle>
            <a:lvl1pPr marL="0" indent="0">
              <a:buFont typeface="Arial" panose="020B0604020202020204" pitchFamily="34" charset="0"/>
              <a:buNone/>
              <a:defRPr sz="1000" b="0" i="0" cap="all" baseline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  <a:lvl2pPr marL="72000" indent="0">
              <a:buNone/>
              <a:defRPr sz="1000">
                <a:latin typeface="Helvetica" pitchFamily="2" charset="0"/>
              </a:defRPr>
            </a:lvl2pPr>
            <a:lvl3pPr marL="252000" indent="0">
              <a:buNone/>
              <a:defRPr sz="1000">
                <a:latin typeface="Helvetica" pitchFamily="2" charset="0"/>
              </a:defRPr>
            </a:lvl3pPr>
            <a:lvl4pPr marL="378000" indent="0">
              <a:buFont typeface="Arial" panose="020B0604020202020204" pitchFamily="34" charset="0"/>
              <a:buNone/>
              <a:defRPr sz="1000">
                <a:latin typeface="Helvetica" pitchFamily="2" charset="0"/>
              </a:defRPr>
            </a:lvl4pPr>
            <a:lvl5pPr marL="252000" indent="0">
              <a:buNone/>
              <a:defRPr sz="1000">
                <a:latin typeface="Helvetica" pitchFamily="2" charset="0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billede 5">
            <a:extLst>
              <a:ext uri="{FF2B5EF4-FFF2-40B4-BE49-F238E27FC236}">
                <a16:creationId xmlns:a16="http://schemas.microsoft.com/office/drawing/2014/main" id="{21388F4B-459C-62E7-B17F-7FDB3EC404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8024" y="1419225"/>
            <a:ext cx="4093976" cy="2744671"/>
          </a:xfrm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9" name="Pladsholder til tekst 7">
            <a:extLst>
              <a:ext uri="{FF2B5EF4-FFF2-40B4-BE49-F238E27FC236}">
                <a16:creationId xmlns:a16="http://schemas.microsoft.com/office/drawing/2014/main" id="{2812230A-8416-6F63-0D6A-A672DE3A6C7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2431" y="1635646"/>
            <a:ext cx="1187999" cy="1188000"/>
          </a:xfrm>
          <a:solidFill>
            <a:schemeClr val="bg2"/>
          </a:solidFill>
        </p:spPr>
        <p:txBody>
          <a:bodyPr lIns="72000" tIns="72000" rIns="72000" bIns="72000"/>
          <a:lstStyle>
            <a:lvl1pPr marL="0" indent="0">
              <a:buNone/>
              <a:defRPr sz="1000"/>
            </a:lvl1pPr>
            <a:lvl2pPr>
              <a:defRPr sz="600"/>
            </a:lvl2pPr>
            <a:lvl3pPr>
              <a:defRPr sz="500"/>
            </a:lvl3pPr>
            <a:lvl4pPr marL="423450" indent="-171450">
              <a:buFont typeface="Arial" panose="020B0604020202020204" pitchFamily="34" charset="0"/>
              <a:buChar char="•"/>
              <a:defRPr sz="500"/>
            </a:lvl4pPr>
            <a:lvl5pPr>
              <a:defRPr sz="5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Pladsholder til tekst 7">
            <a:extLst>
              <a:ext uri="{FF2B5EF4-FFF2-40B4-BE49-F238E27FC236}">
                <a16:creationId xmlns:a16="http://schemas.microsoft.com/office/drawing/2014/main" id="{8D0AA46E-356E-B065-2562-59E9BE8AFF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54978" y="2975896"/>
            <a:ext cx="1187999" cy="1188000"/>
          </a:xfrm>
          <a:solidFill>
            <a:schemeClr val="bg2"/>
          </a:solidFill>
        </p:spPr>
        <p:txBody>
          <a:bodyPr lIns="72000" tIns="72000" rIns="72000" bIns="72000"/>
          <a:lstStyle>
            <a:lvl1pPr marL="0" indent="0">
              <a:buNone/>
              <a:defRPr sz="1000"/>
            </a:lvl1pPr>
            <a:lvl2pPr>
              <a:defRPr sz="600"/>
            </a:lvl2pPr>
            <a:lvl3pPr>
              <a:defRPr sz="500"/>
            </a:lvl3pPr>
            <a:lvl4pPr marL="423450" indent="-171450">
              <a:buFont typeface="Arial" panose="020B0604020202020204" pitchFamily="34" charset="0"/>
              <a:buChar char="•"/>
              <a:defRPr sz="500"/>
            </a:lvl4pPr>
            <a:lvl5pPr>
              <a:defRPr sz="5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4" name="Pladsholder til tekst 7">
            <a:extLst>
              <a:ext uri="{FF2B5EF4-FFF2-40B4-BE49-F238E27FC236}">
                <a16:creationId xmlns:a16="http://schemas.microsoft.com/office/drawing/2014/main" id="{DFAF8689-D3F3-14AB-A7A6-9A7F28D6CE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12431" y="2975896"/>
            <a:ext cx="1187999" cy="1188000"/>
          </a:xfrm>
          <a:solidFill>
            <a:schemeClr val="bg2"/>
          </a:solidFill>
        </p:spPr>
        <p:txBody>
          <a:bodyPr lIns="72000" tIns="72000" rIns="72000" bIns="72000"/>
          <a:lstStyle>
            <a:lvl1pPr marL="0" indent="0">
              <a:buNone/>
              <a:defRPr sz="1000"/>
            </a:lvl1pPr>
            <a:lvl2pPr>
              <a:defRPr sz="600"/>
            </a:lvl2pPr>
            <a:lvl3pPr>
              <a:defRPr sz="500"/>
            </a:lvl3pPr>
            <a:lvl4pPr marL="423450" indent="-171450">
              <a:buFont typeface="Arial" panose="020B0604020202020204" pitchFamily="34" charset="0"/>
              <a:buChar char="•"/>
              <a:defRPr sz="500"/>
            </a:lvl4pPr>
            <a:lvl5pPr>
              <a:defRPr sz="5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7" name="Pladsholder til tekst 7">
            <a:extLst>
              <a:ext uri="{FF2B5EF4-FFF2-40B4-BE49-F238E27FC236}">
                <a16:creationId xmlns:a16="http://schemas.microsoft.com/office/drawing/2014/main" id="{C60F3F8A-9CDD-0BE8-7F8E-2ED8BA8AE7F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4977" y="1635646"/>
            <a:ext cx="1187999" cy="1188000"/>
          </a:xfrm>
          <a:solidFill>
            <a:schemeClr val="bg2"/>
          </a:solidFill>
        </p:spPr>
        <p:txBody>
          <a:bodyPr lIns="72000" tIns="72000" rIns="72000" bIns="72000"/>
          <a:lstStyle>
            <a:lvl1pPr marL="0" indent="0">
              <a:buNone/>
              <a:defRPr sz="1000"/>
            </a:lvl1pPr>
            <a:lvl2pPr>
              <a:defRPr sz="600"/>
            </a:lvl2pPr>
            <a:lvl3pPr>
              <a:defRPr sz="500"/>
            </a:lvl3pPr>
            <a:lvl4pPr marL="423450" indent="-171450">
              <a:buFont typeface="Arial" panose="020B0604020202020204" pitchFamily="34" charset="0"/>
              <a:buChar char="•"/>
              <a:defRPr sz="500"/>
            </a:lvl4pPr>
            <a:lvl5pPr>
              <a:defRPr sz="5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944902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002998-56E0-B41C-4611-6E392593E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55625"/>
            <a:ext cx="3537335" cy="64797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4635518-A0E4-AE02-8A01-B963156D6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0" y="1419225"/>
            <a:ext cx="4103688" cy="2736702"/>
          </a:xfrm>
        </p:spPr>
        <p:txBody>
          <a:bodyPr anchor="ctr"/>
          <a:lstStyle>
            <a:lvl1pPr marL="180000" indent="-180000"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sz="1200" b="1" i="0">
                <a:latin typeface="Neue Haas Grotesk Text Pro" panose="020B0504020202020204" pitchFamily="34" charset="77"/>
              </a:defRPr>
            </a:lvl1pPr>
            <a:lvl2pPr marL="351450" indent="-17145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 typeface="Normal systemskrift"/>
              <a:buChar char="–"/>
              <a:defRPr/>
            </a:lvl2pPr>
            <a:lvl3pPr marL="252000" indent="0">
              <a:buNone/>
              <a:defRPr/>
            </a:lvl3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Pladsholder til billede 5">
            <a:extLst>
              <a:ext uri="{FF2B5EF4-FFF2-40B4-BE49-F238E27FC236}">
                <a16:creationId xmlns:a16="http://schemas.microsoft.com/office/drawing/2014/main" id="{87DB21CB-4EE7-18D5-FFC4-F2591CC303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8024" y="1419225"/>
            <a:ext cx="3527624" cy="2736701"/>
          </a:xfrm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051368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+ tekst + billede (høj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002998-56E0-B41C-4611-6E392593E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55625"/>
            <a:ext cx="3959671" cy="64797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4635518-A0E4-AE02-8A01-B963156D6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13" y="1419225"/>
            <a:ext cx="3671639" cy="3168650"/>
          </a:xfrm>
        </p:spPr>
        <p:txBody>
          <a:bodyPr/>
          <a:lstStyle>
            <a:lvl1pPr marL="0" indent="0">
              <a:buNone/>
              <a:defRPr sz="1100"/>
            </a:lvl1pPr>
            <a:lvl2pPr marL="72000" indent="0">
              <a:buNone/>
              <a:defRPr/>
            </a:lvl2pPr>
            <a:lvl3pPr marL="252000" indent="0">
              <a:buNone/>
              <a:defRPr/>
            </a:lvl3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E6AF5B2-3A69-1F49-DA1A-FED935DE1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8313" y="339726"/>
            <a:ext cx="4103687" cy="144462"/>
          </a:xfrm>
        </p:spPr>
        <p:txBody>
          <a:bodyPr vert="horz" lIns="14400" tIns="0" rIns="0" bIns="0" rtlCol="0">
            <a:noAutofit/>
          </a:bodyPr>
          <a:lstStyle>
            <a:lvl1pPr marL="0" indent="0">
              <a:buNone/>
              <a:defRPr lang="en-GB" sz="1000" cap="all" dirty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</a:lstStyle>
          <a:p>
            <a:pPr marL="171450" lvl="0" indent="-171450"/>
            <a:r>
              <a:rPr lang="da-DK"/>
              <a:t>Klik for at redigere teksttypografierne i masteren</a:t>
            </a:r>
          </a:p>
        </p:txBody>
      </p:sp>
      <p:sp>
        <p:nvSpPr>
          <p:cNvPr id="3" name="Pladsholder til billede 5">
            <a:extLst>
              <a:ext uri="{FF2B5EF4-FFF2-40B4-BE49-F238E27FC236}">
                <a16:creationId xmlns:a16="http://schemas.microsoft.com/office/drawing/2014/main" id="{87DB21CB-4EE7-18D5-FFC4-F2591CC303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014544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+ tekst + bille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002998-56E0-B41C-4611-6E392593E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55625"/>
            <a:ext cx="3959671" cy="64797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4635518-A0E4-AE02-8A01-B963156D6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13" y="1419225"/>
            <a:ext cx="3671639" cy="3168650"/>
          </a:xfrm>
        </p:spPr>
        <p:txBody>
          <a:bodyPr/>
          <a:lstStyle>
            <a:lvl1pPr marL="0" indent="0">
              <a:buNone/>
              <a:defRPr sz="1100"/>
            </a:lvl1pPr>
            <a:lvl2pPr marL="72000" indent="0">
              <a:buNone/>
              <a:defRPr/>
            </a:lvl2pPr>
            <a:lvl3pPr marL="252000" indent="0">
              <a:buNone/>
              <a:defRPr/>
            </a:lvl3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E6AF5B2-3A69-1F49-DA1A-FED935DE1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8313" y="339726"/>
            <a:ext cx="4103687" cy="144462"/>
          </a:xfrm>
        </p:spPr>
        <p:txBody>
          <a:bodyPr vert="horz" lIns="14400" tIns="0" rIns="0" bIns="0" rtlCol="0">
            <a:noAutofit/>
          </a:bodyPr>
          <a:lstStyle>
            <a:lvl1pPr marL="0" indent="0">
              <a:buNone/>
              <a:defRPr lang="en-GB" sz="1000" cap="all" dirty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</a:lstStyle>
          <a:p>
            <a:pPr marL="171450" lvl="0" indent="-171450"/>
            <a:r>
              <a:rPr lang="da-DK"/>
              <a:t>Klik for at redigere teksttypografierne i masteren</a:t>
            </a:r>
          </a:p>
        </p:txBody>
      </p:sp>
      <p:sp>
        <p:nvSpPr>
          <p:cNvPr id="3" name="Pladsholder til billede 5">
            <a:extLst>
              <a:ext uri="{FF2B5EF4-FFF2-40B4-BE49-F238E27FC236}">
                <a16:creationId xmlns:a16="http://schemas.microsoft.com/office/drawing/2014/main" id="{87DB21CB-4EE7-18D5-FFC4-F2591CC303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555625"/>
            <a:ext cx="4103688" cy="4032250"/>
          </a:xfrm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4001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skrift + tekst + billede (venst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5">
            <a:extLst>
              <a:ext uri="{FF2B5EF4-FFF2-40B4-BE49-F238E27FC236}">
                <a16:creationId xmlns:a16="http://schemas.microsoft.com/office/drawing/2014/main" id="{87DB21CB-4EE7-18D5-FFC4-F2591CC303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572000" cy="5143500"/>
          </a:xfrm>
        </p:spPr>
        <p:txBody>
          <a:bodyPr>
            <a:normAutofit/>
          </a:bodyPr>
          <a:lstStyle>
            <a:lvl1pPr marL="0" indent="0" algn="ctr">
              <a:buNone/>
              <a:defRPr sz="900" b="0" i="0">
                <a:latin typeface="Neue Haas Grotesk Text Pro" panose="020B0504020202020204" pitchFamily="34" charset="77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B002998-56E0-B41C-4611-6E392593E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8262" y="555625"/>
            <a:ext cx="3527427" cy="64797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4635518-A0E4-AE02-8A01-B963156D6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48263" y="1419225"/>
            <a:ext cx="3527426" cy="3168650"/>
          </a:xfrm>
        </p:spPr>
        <p:txBody>
          <a:bodyPr/>
          <a:lstStyle>
            <a:lvl1pPr marL="0" indent="0">
              <a:buNone/>
              <a:defRPr sz="1100"/>
            </a:lvl1pPr>
            <a:lvl2pPr marL="72000" indent="0">
              <a:buNone/>
              <a:defRPr/>
            </a:lvl2pPr>
            <a:lvl3pPr marL="252000" indent="0">
              <a:buNone/>
              <a:defRPr/>
            </a:lvl3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E6AF5B2-3A69-1F49-DA1A-FED935DE1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48277" y="339726"/>
            <a:ext cx="3528179" cy="144462"/>
          </a:xfrm>
        </p:spPr>
        <p:txBody>
          <a:bodyPr vert="horz" lIns="14400" tIns="0" rIns="0" bIns="0" rtlCol="0">
            <a:noAutofit/>
          </a:bodyPr>
          <a:lstStyle>
            <a:lvl1pPr marL="0" indent="0">
              <a:buNone/>
              <a:defRPr lang="en-GB" sz="1000" cap="all" dirty="0">
                <a:solidFill>
                  <a:srgbClr val="878787"/>
                </a:solidFill>
                <a:latin typeface="Neue Haas Grotesk Text Pro" panose="020B0504020202020204" pitchFamily="34" charset="77"/>
              </a:defRPr>
            </a:lvl1pPr>
          </a:lstStyle>
          <a:p>
            <a:pPr marL="171450" lvl="0" indent="-17145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tekst 6">
            <a:extLst>
              <a:ext uri="{FF2B5EF4-FFF2-40B4-BE49-F238E27FC236}">
                <a16:creationId xmlns:a16="http://schemas.microsoft.com/office/drawing/2014/main" id="{29B2FAC6-BF26-045F-8DCE-F4BFC08512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219600" cy="219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1F27B77A-47CB-1461-047F-56640092E97C}"/>
              </a:ext>
            </a:extLst>
          </p:cNvPr>
          <p:cNvSpPr txBox="1"/>
          <p:nvPr userDrawn="1"/>
        </p:nvSpPr>
        <p:spPr>
          <a:xfrm>
            <a:off x="-383241" y="3610535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GB" sz="900" dirty="0">
              <a:latin typeface="Source Sans Pro Light" panose="020B0403030403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52553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68313" y="555625"/>
            <a:ext cx="8207375" cy="6479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 noProof="0" dirty="0" err="1"/>
              <a:t>Lorem</a:t>
            </a:r>
            <a:r>
              <a:rPr lang="da-DK" noProof="0" dirty="0"/>
              <a:t> </a:t>
            </a:r>
            <a:r>
              <a:rPr lang="da-DK" noProof="0" dirty="0" err="1"/>
              <a:t>ipsum</a:t>
            </a:r>
            <a:r>
              <a:rPr lang="da-DK" noProof="0" dirty="0"/>
              <a:t> </a:t>
            </a:r>
            <a:r>
              <a:rPr lang="da-DK" noProof="0" dirty="0" err="1"/>
              <a:t>dolor</a:t>
            </a:r>
            <a:br>
              <a:rPr lang="da-DK" noProof="0" dirty="0"/>
            </a:br>
            <a:r>
              <a:rPr lang="da-DK" noProof="0" dirty="0" err="1"/>
              <a:t>lorem</a:t>
            </a:r>
            <a:endParaRPr lang="da-DK" noProof="0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DB83AA-26AC-624A-BEA8-DE70D09ADF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313" y="1419225"/>
            <a:ext cx="8207375" cy="316865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 </a:t>
            </a:r>
          </a:p>
          <a:p>
            <a:pPr lvl="3"/>
            <a:r>
              <a:rPr lang="da-DK" noProof="0" dirty="0"/>
              <a:t>Fjerde niveau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21B46BE0-2749-43F6-F1C5-7A80EC23DDD4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87181" y="4728661"/>
            <a:ext cx="219577" cy="219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967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18" r:id="rId2"/>
    <p:sldLayoutId id="2147483817" r:id="rId3"/>
    <p:sldLayoutId id="2147483825" r:id="rId4"/>
    <p:sldLayoutId id="2147483816" r:id="rId5"/>
    <p:sldLayoutId id="2147483824" r:id="rId6"/>
    <p:sldLayoutId id="2147483820" r:id="rId7"/>
    <p:sldLayoutId id="2147483829" r:id="rId8"/>
    <p:sldLayoutId id="2147483828" r:id="rId9"/>
    <p:sldLayoutId id="2147483841" r:id="rId10"/>
    <p:sldLayoutId id="2147483832" r:id="rId11"/>
    <p:sldLayoutId id="2147483833" r:id="rId12"/>
    <p:sldLayoutId id="2147483837" r:id="rId13"/>
    <p:sldLayoutId id="2147483838" r:id="rId14"/>
    <p:sldLayoutId id="2147483839" r:id="rId15"/>
    <p:sldLayoutId id="2147483840" r:id="rId16"/>
    <p:sldLayoutId id="2147483830" r:id="rId17"/>
    <p:sldLayoutId id="2147483819" r:id="rId18"/>
    <p:sldLayoutId id="2147483834" r:id="rId19"/>
    <p:sldLayoutId id="2147483835" r:id="rId20"/>
    <p:sldLayoutId id="2147483836" r:id="rId21"/>
    <p:sldLayoutId id="2147483822" r:id="rId22"/>
    <p:sldLayoutId id="2147483831" r:id="rId23"/>
    <p:sldLayoutId id="2147483844" r:id="rId24"/>
    <p:sldLayoutId id="2147483845" r:id="rId25"/>
  </p:sldLayoutIdLst>
  <p:hf hdr="0" ftr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lang="da-DK" sz="2400" b="1" i="0" kern="0" spc="0" baseline="0" noProof="0" dirty="0">
          <a:solidFill>
            <a:schemeClr val="tx1"/>
          </a:solidFill>
          <a:latin typeface="Neue Haas Grotesk Text Pro" panose="020B0504020202020204" pitchFamily="34" charset="77"/>
          <a:ea typeface="+mj-ea"/>
          <a:cs typeface="Arial"/>
        </a:defRPr>
      </a:lvl1pPr>
    </p:titleStyle>
    <p:bodyStyle>
      <a:lvl1pPr marL="252000" indent="-252000" algn="l" defTabSz="457200" rtl="0" eaLnBrk="1" latinLnBrk="0" hangingPunct="1">
        <a:spcBef>
          <a:spcPts val="300"/>
        </a:spcBef>
        <a:spcAft>
          <a:spcPts val="600"/>
        </a:spcAft>
        <a:buClr>
          <a:srgbClr val="EB052F"/>
        </a:buClr>
        <a:buFont typeface="Wingdings" pitchFamily="2" charset="2"/>
        <a:buChar char="§"/>
        <a:defRPr lang="da-DK" sz="1400" b="0" i="0" kern="0" baseline="0" dirty="0">
          <a:solidFill>
            <a:schemeClr val="tx1"/>
          </a:solidFill>
          <a:latin typeface="Neue Haas Grotesk Text Pro" panose="020B0504020202020204" pitchFamily="34" charset="77"/>
          <a:ea typeface="+mn-ea"/>
          <a:cs typeface="Arial"/>
        </a:defRPr>
      </a:lvl1pPr>
      <a:lvl2pPr marL="252000" indent="-180000" algn="l" defTabSz="457200" rtl="0" eaLnBrk="1" latinLnBrk="0" hangingPunct="1">
        <a:spcBef>
          <a:spcPts val="300"/>
        </a:spcBef>
        <a:spcAft>
          <a:spcPts val="300"/>
        </a:spcAft>
        <a:buClr>
          <a:srgbClr val="EB052F"/>
        </a:buClr>
        <a:buFont typeface="Wingdings" pitchFamily="2" charset="2"/>
        <a:buChar char="§"/>
        <a:defRPr lang="da-DK" sz="1100" b="0" i="0" kern="0" dirty="0" smtClean="0">
          <a:solidFill>
            <a:schemeClr val="tx1"/>
          </a:solidFill>
          <a:latin typeface="Neue Haas Grotesk Text Pro" panose="020B0504020202020204" pitchFamily="34" charset="77"/>
          <a:ea typeface="+mn-ea"/>
          <a:cs typeface="Arial"/>
        </a:defRPr>
      </a:lvl2pPr>
      <a:lvl3pPr marL="432000" marR="0" indent="-1800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EB052F"/>
        </a:buClr>
        <a:buSzTx/>
        <a:buFont typeface="Wingdings" pitchFamily="2" charset="2"/>
        <a:buChar char="§"/>
        <a:tabLst/>
        <a:defRPr lang="da-DK" sz="1000" b="0" i="0" kern="0" dirty="0">
          <a:solidFill>
            <a:schemeClr val="tx1"/>
          </a:solidFill>
          <a:latin typeface="Neue Haas Grotesk Text Pro" panose="020B0504020202020204" pitchFamily="34" charset="77"/>
          <a:ea typeface="+mn-ea"/>
          <a:cs typeface="+mn-cs"/>
        </a:defRPr>
      </a:lvl3pPr>
      <a:lvl4pPr marL="252000" indent="0" algn="l" defTabSz="457200" rtl="0" eaLnBrk="1" latinLnBrk="0" hangingPunct="1">
        <a:spcBef>
          <a:spcPts val="0"/>
        </a:spcBef>
        <a:buFont typeface="CambriaMath"/>
        <a:buNone/>
        <a:defRPr sz="1000" b="0" i="0" kern="0">
          <a:solidFill>
            <a:schemeClr val="tx1"/>
          </a:solidFill>
          <a:latin typeface="Neue Haas Grotesk Text Pro" panose="020B0504020202020204" pitchFamily="34" charset="77"/>
          <a:ea typeface="+mn-ea"/>
          <a:cs typeface="+mn-cs"/>
        </a:defRPr>
      </a:lvl4pPr>
      <a:lvl5pPr marL="378000" indent="-126000" algn="l" defTabSz="457200" rtl="0" eaLnBrk="1" latinLnBrk="0" hangingPunct="1">
        <a:spcBef>
          <a:spcPts val="0"/>
        </a:spcBef>
        <a:buFont typeface="CambriaMath"/>
        <a:buChar char="⎯"/>
        <a:defRPr sz="900" b="0" i="0" kern="1200">
          <a:solidFill>
            <a:schemeClr val="tx1"/>
          </a:solidFill>
          <a:latin typeface="Source Sans Pro Light" panose="020B0403030403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5" userDrawn="1">
          <p15:clr>
            <a:srgbClr val="F26B43"/>
          </p15:clr>
        </p15:guide>
        <p15:guide id="2" orient="horz" pos="2890" userDrawn="1">
          <p15:clr>
            <a:srgbClr val="F26B43"/>
          </p15:clr>
        </p15:guide>
        <p15:guide id="3" orient="horz" pos="169" userDrawn="1">
          <p15:clr>
            <a:srgbClr val="F26B43"/>
          </p15:clr>
        </p15:guide>
        <p15:guide id="4" pos="5465" userDrawn="1">
          <p15:clr>
            <a:srgbClr val="F26B43"/>
          </p15:clr>
        </p15:guide>
        <p15:guide id="7" pos="2880">
          <p15:clr>
            <a:srgbClr val="F26B43"/>
          </p15:clr>
        </p15:guide>
        <p15:guide id="8" orient="horz" pos="894" userDrawn="1">
          <p15:clr>
            <a:srgbClr val="F26B43"/>
          </p15:clr>
        </p15:guide>
        <p15:guide id="9" orient="horz" pos="1620">
          <p15:clr>
            <a:srgbClr val="F26B43"/>
          </p15:clr>
        </p15:guide>
        <p15:guide id="10" orient="horz" pos="3117">
          <p15:clr>
            <a:srgbClr val="F26B43"/>
          </p15:clr>
        </p15:guide>
        <p15:guide id="11" orient="horz" pos="350" userDrawn="1">
          <p15:clr>
            <a:srgbClr val="F26B43"/>
          </p15:clr>
        </p15:guide>
        <p15:guide id="12" pos="113" userDrawn="1">
          <p15:clr>
            <a:srgbClr val="F26B43"/>
          </p15:clr>
        </p15:guide>
        <p15:guide id="13" pos="5647" userDrawn="1">
          <p15:clr>
            <a:srgbClr val="F26B43"/>
          </p15:clr>
        </p15:guide>
        <p15:guide id="14" orient="horz" pos="123" userDrawn="1">
          <p15:clr>
            <a:srgbClr val="F26B43"/>
          </p15:clr>
        </p15:guide>
        <p15:guide id="15" orient="horz" pos="214" userDrawn="1">
          <p15:clr>
            <a:srgbClr val="F26B43"/>
          </p15:clr>
        </p15:guide>
        <p15:guide id="16" orient="horz" pos="305" userDrawn="1">
          <p15:clr>
            <a:srgbClr val="F26B43"/>
          </p15:clr>
        </p15:guide>
        <p15:guide id="17" pos="324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23.jp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6.sv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fif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hyperlink" Target="mailto:tob@kombit.dk" TargetMode="Externa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090091-2181-3887-5B14-335E4F1F1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:KFS grundfortælling og status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0DF1B0C-FBEE-96A0-1EBC-A920F8DCBD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4. April 2025</a:t>
            </a:r>
          </a:p>
          <a:p>
            <a:r>
              <a:rPr lang="da-DK" dirty="0"/>
              <a:t>TOB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8BDBAEC-CA3C-0C29-AB73-D4C8AF35C2A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533283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5E8493-B3A3-C2AD-4FCA-E5BFDA4D131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521002" y="708719"/>
            <a:ext cx="6129344" cy="473421"/>
          </a:xfrm>
        </p:spPr>
        <p:txBody>
          <a:bodyPr/>
          <a:lstStyle/>
          <a:p>
            <a:pPr lvl="0"/>
            <a:r>
              <a:rPr lang="da-DK" sz="2025"/>
              <a:t>Udfasning - systemoverblik - forudsætningsløsninger</a:t>
            </a:r>
          </a:p>
        </p:txBody>
      </p:sp>
      <p:graphicFrame>
        <p:nvGraphicFramePr>
          <p:cNvPr id="3" name="Tabel 4">
            <a:extLst>
              <a:ext uri="{FF2B5EF4-FFF2-40B4-BE49-F238E27FC236}">
                <a16:creationId xmlns:a16="http://schemas.microsoft.com/office/drawing/2014/main" id="{5734DE99-DB8E-C7F3-59AF-7E05075D5BA1}"/>
              </a:ext>
            </a:extLst>
          </p:cNvPr>
          <p:cNvGraphicFramePr>
            <a:graphicFrameLocks noGrp="1"/>
          </p:cNvGraphicFramePr>
          <p:nvPr>
            <p:ph type="tbl" idx="4294967295"/>
            <p:extLst>
              <p:ext uri="{D42A27DB-BD31-4B8C-83A1-F6EECF244321}">
                <p14:modId xmlns:p14="http://schemas.microsoft.com/office/powerpoint/2010/main" val="3848167015"/>
              </p:ext>
            </p:extLst>
          </p:nvPr>
        </p:nvGraphicFramePr>
        <p:xfrm>
          <a:off x="395536" y="699542"/>
          <a:ext cx="8451058" cy="3052640"/>
        </p:xfrm>
        <a:graphic>
          <a:graphicData uri="http://schemas.openxmlformats.org/drawingml/2006/table">
            <a:tbl>
              <a:tblPr firstRow="1" bandRow="1">
                <a:effectLst/>
                <a:tableStyleId>{21E4AEA4-8DFA-4A89-87EB-49C32662AFE0}</a:tableStyleId>
              </a:tblPr>
              <a:tblGrid>
                <a:gridCol w="297682">
                  <a:extLst>
                    <a:ext uri="{9D8B030D-6E8A-4147-A177-3AD203B41FA5}">
                      <a16:colId xmlns:a16="http://schemas.microsoft.com/office/drawing/2014/main" val="1936919056"/>
                    </a:ext>
                  </a:extLst>
                </a:gridCol>
                <a:gridCol w="638422">
                  <a:extLst>
                    <a:ext uri="{9D8B030D-6E8A-4147-A177-3AD203B41FA5}">
                      <a16:colId xmlns:a16="http://schemas.microsoft.com/office/drawing/2014/main" val="2275194379"/>
                    </a:ext>
                  </a:extLst>
                </a:gridCol>
                <a:gridCol w="857511">
                  <a:extLst>
                    <a:ext uri="{9D8B030D-6E8A-4147-A177-3AD203B41FA5}">
                      <a16:colId xmlns:a16="http://schemas.microsoft.com/office/drawing/2014/main" val="1350059488"/>
                    </a:ext>
                  </a:extLst>
                </a:gridCol>
                <a:gridCol w="648070">
                  <a:extLst>
                    <a:ext uri="{9D8B030D-6E8A-4147-A177-3AD203B41FA5}">
                      <a16:colId xmlns:a16="http://schemas.microsoft.com/office/drawing/2014/main" val="2243637496"/>
                    </a:ext>
                  </a:extLst>
                </a:gridCol>
                <a:gridCol w="655434">
                  <a:extLst>
                    <a:ext uri="{9D8B030D-6E8A-4147-A177-3AD203B41FA5}">
                      <a16:colId xmlns:a16="http://schemas.microsoft.com/office/drawing/2014/main" val="2514102141"/>
                    </a:ext>
                  </a:extLst>
                </a:gridCol>
                <a:gridCol w="1278470">
                  <a:extLst>
                    <a:ext uri="{9D8B030D-6E8A-4147-A177-3AD203B41FA5}">
                      <a16:colId xmlns:a16="http://schemas.microsoft.com/office/drawing/2014/main" val="2724315717"/>
                    </a:ext>
                  </a:extLst>
                </a:gridCol>
                <a:gridCol w="1778558">
                  <a:extLst>
                    <a:ext uri="{9D8B030D-6E8A-4147-A177-3AD203B41FA5}">
                      <a16:colId xmlns:a16="http://schemas.microsoft.com/office/drawing/2014/main" val="735954590"/>
                    </a:ext>
                  </a:extLst>
                </a:gridCol>
                <a:gridCol w="1489668">
                  <a:extLst>
                    <a:ext uri="{9D8B030D-6E8A-4147-A177-3AD203B41FA5}">
                      <a16:colId xmlns:a16="http://schemas.microsoft.com/office/drawing/2014/main" val="3016339538"/>
                    </a:ext>
                  </a:extLst>
                </a:gridCol>
                <a:gridCol w="807243">
                  <a:extLst>
                    <a:ext uri="{9D8B030D-6E8A-4147-A177-3AD203B41FA5}">
                      <a16:colId xmlns:a16="http://schemas.microsoft.com/office/drawing/2014/main" val="1923480138"/>
                    </a:ext>
                  </a:extLst>
                </a:gridCol>
              </a:tblGrid>
              <a:tr h="408496"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Nr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Fag-løsning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Afregnings-metode</a:t>
                      </a:r>
                    </a:p>
                    <a:p>
                      <a:pPr lvl="0"/>
                      <a:endParaRPr lang="da-DK" sz="8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Opsigelsesvarsel</a:t>
                      </a:r>
                    </a:p>
                    <a:p>
                      <a:pPr lvl="0"/>
                      <a:endParaRPr lang="da-DK" sz="8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Last mover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Bemærkning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Forventet opsigelse </a:t>
                      </a:r>
                    </a:p>
                    <a:p>
                      <a:pPr lvl="0"/>
                      <a:endParaRPr lang="da-DK" sz="8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Status og tiltag</a:t>
                      </a:r>
                      <a:endParaRPr lang="da-DK" sz="800" dirty="0">
                        <a:solidFill>
                          <a:srgbClr val="00B050"/>
                        </a:solidFill>
                      </a:endParaRPr>
                    </a:p>
                  </a:txBody>
                  <a:tcPr marL="51435" marR="51435" marT="25718" marB="25718">
                    <a:solidFill>
                      <a:srgbClr val="CBC4BC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da-DK" sz="800" dirty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994219715"/>
                  </a:ext>
                </a:extLst>
              </a:tr>
              <a:tr h="526900"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1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P-Data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Trappemodel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6 måneder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Valg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ESR trin udløst 01.07.2024 i henhold til aftaler. Valg trin udløses 30/9-25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 dirty="0"/>
                        <a:t>VALG  oktober 2025 – Opsiges 6 måned forud.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Opsagt 31/3-25 med ikrafttrædelse 30/9-25</a:t>
                      </a:r>
                    </a:p>
                  </a:txBody>
                  <a:tcPr marL="51435" marR="51435" marT="25718" marB="25718">
                    <a:solidFill>
                      <a:srgbClr val="CBC4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a-DK" sz="800" i="1" dirty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3146735325"/>
                  </a:ext>
                </a:extLst>
              </a:tr>
              <a:tr h="408496"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4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/>
                        <a:t>KSP/CICS/LOS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Trappemodel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6 måneder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ESR eller Valg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da-DK" sz="800" dirty="0"/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ESR ved </a:t>
                      </a:r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udgang af 2026 </a:t>
                      </a:r>
                      <a:r>
                        <a:rPr lang="da-DK" sz="800" i="1" dirty="0">
                          <a:solidFill>
                            <a:schemeClr val="tx1"/>
                          </a:solidFill>
                        </a:rPr>
                        <a:t>eller VALG </a:t>
                      </a:r>
                      <a:r>
                        <a:rPr lang="da-DK" sz="800" i="1" dirty="0"/>
                        <a:t>ca. november 2025 – Senest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i="1" dirty="0"/>
                        <a:t>Opsiges </a:t>
                      </a:r>
                      <a:r>
                        <a:rPr lang="da-DK" sz="800" i="1" dirty="0" err="1"/>
                        <a:t>ifbn</a:t>
                      </a:r>
                      <a:r>
                        <a:rPr lang="da-DK" sz="800" i="1" dirty="0">
                          <a:solidFill>
                            <a:schemeClr val="tx1"/>
                          </a:solidFill>
                        </a:rPr>
                        <a:t>. med ESR</a:t>
                      </a:r>
                      <a:endParaRPr lang="da-DK" sz="800" i="1" strike="sngStrike" dirty="0">
                        <a:solidFill>
                          <a:schemeClr val="tx1"/>
                        </a:solidFill>
                      </a:endParaRP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endParaRPr lang="da-DK" sz="800" i="1" dirty="0"/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9673063"/>
                  </a:ext>
                </a:extLst>
              </a:tr>
              <a:tr h="882113"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5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/>
                        <a:t>KMD Doc2Archive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 err="1"/>
                        <a:t>Forbrugsafreg</a:t>
                      </a:r>
                      <a:r>
                        <a:rPr lang="da-DK" sz="800" dirty="0"/>
                        <a:t>-net model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6 måneder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ESR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Der arbejdes på en løsningsmodel (slette programmel) ift. arkivering ift. fagsystemerne.  </a:t>
                      </a:r>
                    </a:p>
                    <a:p>
                      <a:pPr lvl="0"/>
                      <a:endParaRPr lang="da-DK" sz="800" dirty="0">
                        <a:solidFill>
                          <a:schemeClr val="tx1"/>
                        </a:solidFill>
                      </a:endParaRP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ESR ved udgang af 2026 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 dirty="0"/>
                        <a:t>Afleveringer til slutarkiver. Proces forløb aftalt og igangsat, For alle leverancer med månedlig opfølgning i samarbejde med KL. Se efterfølgende slides vedr. arkivering.</a:t>
                      </a:r>
                    </a:p>
                    <a:p>
                      <a:pPr lvl="0"/>
                      <a:endParaRPr lang="da-DK" sz="800" i="1" dirty="0"/>
                    </a:p>
                  </a:txBody>
                  <a:tcPr marL="51435" marR="51435" marT="25718" marB="25718">
                    <a:solidFill>
                      <a:srgbClr val="CBC4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a-DK" sz="800" i="1" dirty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283916671"/>
                  </a:ext>
                </a:extLst>
              </a:tr>
              <a:tr h="408496"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6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/>
                        <a:t>KMD Udbetaling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 err="1"/>
                        <a:t>Forbrugsafreg</a:t>
                      </a:r>
                      <a:r>
                        <a:rPr lang="da-DK" sz="800" dirty="0"/>
                        <a:t>-net model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12 måneder, Opsigelse forventelig 2026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KSD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da-DK" sz="800" dirty="0">
                        <a:solidFill>
                          <a:schemeClr val="tx1"/>
                        </a:solidFill>
                      </a:endParaRP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Forventet opsigelse 2025 med effekt i 2026 – Erstattes af ny kommunal ejet udbetalingskomponent 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da-DK" sz="800" i="1" dirty="0">
                        <a:solidFill>
                          <a:schemeClr val="tx1"/>
                        </a:solidFill>
                      </a:endParaRP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a-DK" sz="800" i="1" dirty="0">
                        <a:solidFill>
                          <a:srgbClr val="000000"/>
                        </a:solidFill>
                      </a:endParaRP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9088257"/>
                  </a:ext>
                </a:extLst>
              </a:tr>
            </a:tbl>
          </a:graphicData>
        </a:graphic>
      </p:graphicFrame>
      <p:sp>
        <p:nvSpPr>
          <p:cNvPr id="4" name="Tekstfelt 3">
            <a:extLst>
              <a:ext uri="{FF2B5EF4-FFF2-40B4-BE49-F238E27FC236}">
                <a16:creationId xmlns:a16="http://schemas.microsoft.com/office/drawing/2014/main" id="{CA50F660-11E8-D0A1-94B1-2F443F3C005B}"/>
              </a:ext>
            </a:extLst>
          </p:cNvPr>
          <p:cNvSpPr txBox="1"/>
          <p:nvPr/>
        </p:nvSpPr>
        <p:spPr>
          <a:xfrm rot="16200000">
            <a:off x="35497" y="3313533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a-DK" sz="1000" b="1" kern="0" dirty="0">
                <a:latin typeface="Neue Haas Grotesk Text Pro" panose="020B0504020202020204" pitchFamily="34" charset="77"/>
                <a:cs typeface="Arial"/>
              </a:rPr>
              <a:t> Oversigt over forudsætningssystemer og økonomi april 2025</a:t>
            </a: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7F622418-FAAC-E419-5523-3B0972625EB5}"/>
              </a:ext>
            </a:extLst>
          </p:cNvPr>
          <p:cNvSpPr txBox="1"/>
          <p:nvPr/>
        </p:nvSpPr>
        <p:spPr>
          <a:xfrm>
            <a:off x="755576" y="4803998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endParaRPr lang="da-DK" sz="1000" kern="0" dirty="0">
              <a:latin typeface="Neue Haas Grotesk Text Pro" panose="020B0504020202020204" pitchFamily="34" charset="77"/>
              <a:cs typeface="Arial"/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594A16E1-FE36-69FF-98C2-5D3327282E10}"/>
              </a:ext>
            </a:extLst>
          </p:cNvPr>
          <p:cNvSpPr txBox="1"/>
          <p:nvPr/>
        </p:nvSpPr>
        <p:spPr>
          <a:xfrm>
            <a:off x="8100392" y="411510"/>
            <a:ext cx="914400" cy="10584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endParaRPr lang="da-DK" sz="1000" kern="0" dirty="0">
              <a:highlight>
                <a:srgbClr val="FFFF00"/>
              </a:highlight>
              <a:latin typeface="Neue Haas Grotesk Text Pro" panose="020B0504020202020204" pitchFamily="34" charset="7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89049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1CA879-621F-4667-98ED-93A802D7A5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1CA879-621F-4667-98ED-93A802D7A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4EFCE7C7-54FF-429B-AB46-695C631668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225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749326-DEAB-401F-AC19-8C78027EF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123577"/>
            <a:ext cx="8207375" cy="647973"/>
          </a:xfrm>
        </p:spPr>
        <p:txBody>
          <a:bodyPr/>
          <a:lstStyle/>
          <a:p>
            <a:r>
              <a:rPr lang="da-DK" dirty="0"/>
              <a:t>Reduktioner pr. løsning </a:t>
            </a:r>
            <a:r>
              <a:rPr lang="da-DK" sz="1600" dirty="0"/>
              <a:t>(ESR besparelser P+V data er slået igennem pr. 30/6-24 – KMD Valg besparelser pr. 1/10-25)</a:t>
            </a:r>
          </a:p>
        </p:txBody>
      </p:sp>
      <p:graphicFrame>
        <p:nvGraphicFramePr>
          <p:cNvPr id="6" name="Tabel 6">
            <a:extLst>
              <a:ext uri="{FF2B5EF4-FFF2-40B4-BE49-F238E27FC236}">
                <a16:creationId xmlns:a16="http://schemas.microsoft.com/office/drawing/2014/main" id="{7CF91527-A724-4BEC-9638-F0299A7662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0418734"/>
              </p:ext>
            </p:extLst>
          </p:nvPr>
        </p:nvGraphicFramePr>
        <p:xfrm>
          <a:off x="423016" y="647823"/>
          <a:ext cx="8492385" cy="437219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1671761">
                  <a:extLst>
                    <a:ext uri="{9D8B030D-6E8A-4147-A177-3AD203B41FA5}">
                      <a16:colId xmlns:a16="http://schemas.microsoft.com/office/drawing/2014/main" val="1402470719"/>
                    </a:ext>
                  </a:extLst>
                </a:gridCol>
                <a:gridCol w="1705156">
                  <a:extLst>
                    <a:ext uri="{9D8B030D-6E8A-4147-A177-3AD203B41FA5}">
                      <a16:colId xmlns:a16="http://schemas.microsoft.com/office/drawing/2014/main" val="3017739483"/>
                    </a:ext>
                  </a:extLst>
                </a:gridCol>
                <a:gridCol w="1705156">
                  <a:extLst>
                    <a:ext uri="{9D8B030D-6E8A-4147-A177-3AD203B41FA5}">
                      <a16:colId xmlns:a16="http://schemas.microsoft.com/office/drawing/2014/main" val="2281690303"/>
                    </a:ext>
                  </a:extLst>
                </a:gridCol>
                <a:gridCol w="1705156">
                  <a:extLst>
                    <a:ext uri="{9D8B030D-6E8A-4147-A177-3AD203B41FA5}">
                      <a16:colId xmlns:a16="http://schemas.microsoft.com/office/drawing/2014/main" val="119188918"/>
                    </a:ext>
                  </a:extLst>
                </a:gridCol>
                <a:gridCol w="1705156">
                  <a:extLst>
                    <a:ext uri="{9D8B030D-6E8A-4147-A177-3AD203B41FA5}">
                      <a16:colId xmlns:a16="http://schemas.microsoft.com/office/drawing/2014/main" val="2722394517"/>
                    </a:ext>
                  </a:extLst>
                </a:gridCol>
              </a:tblGrid>
              <a:tr h="287329">
                <a:tc rowSpan="2">
                  <a:txBody>
                    <a:bodyPr/>
                    <a:lstStyle/>
                    <a:p>
                      <a:r>
                        <a:rPr lang="da-DK" sz="1400" dirty="0"/>
                        <a:t>KMD Fagsystem</a:t>
                      </a:r>
                    </a:p>
                  </a:txBody>
                  <a:tcPr marL="68580" marR="68580" marT="34290" marB="34290" anchor="ctr"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a-DK" sz="1400" dirty="0"/>
                        <a:t>Forudsætningssystemer</a:t>
                      </a:r>
                    </a:p>
                  </a:txBody>
                  <a:tcPr marL="68580" marR="68580" marT="34290" marB="34290">
                    <a:lnB w="12700" cmpd="sng">
                      <a:noFill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4320544"/>
                  </a:ext>
                </a:extLst>
              </a:tr>
              <a:tr h="287329">
                <a:tc vMerge="1">
                  <a:txBody>
                    <a:bodyPr/>
                    <a:lstStyle/>
                    <a:p>
                      <a:endParaRPr lang="da-DK" sz="1800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>
                          <a:solidFill>
                            <a:schemeClr val="bg1"/>
                          </a:solidFill>
                        </a:rPr>
                        <a:t>P-data</a:t>
                      </a:r>
                      <a:endParaRPr lang="da-DK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>
                          <a:solidFill>
                            <a:schemeClr val="bg1"/>
                          </a:solidFill>
                        </a:rPr>
                        <a:t>KMD V-data</a:t>
                      </a:r>
                      <a:endParaRPr lang="da-DK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>
                          <a:solidFill>
                            <a:schemeClr val="bg1"/>
                          </a:solidFill>
                        </a:rPr>
                        <a:t>KMD Indkomst</a:t>
                      </a:r>
                      <a:endParaRPr lang="da-DK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>
                          <a:solidFill>
                            <a:schemeClr val="bg1"/>
                          </a:solidFill>
                        </a:rPr>
                        <a:t>KSP/CICS og LOS</a:t>
                      </a:r>
                      <a:endParaRPr lang="da-DK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361472"/>
                  </a:ext>
                </a:extLst>
              </a:tr>
              <a:tr h="287329">
                <a:tc>
                  <a:txBody>
                    <a:bodyPr/>
                    <a:lstStyle/>
                    <a:p>
                      <a:r>
                        <a:rPr lang="da-DK" sz="11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Opus Barse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 %</a:t>
                      </a:r>
                    </a:p>
                  </a:txBody>
                  <a:tcPr marL="68580" marR="68580" marT="34290" marB="34290"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7 %</a:t>
                      </a:r>
                    </a:p>
                  </a:txBody>
                  <a:tcPr marL="68580" marR="68580" marT="34290" marB="34290"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 %</a:t>
                      </a:r>
                    </a:p>
                  </a:txBody>
                  <a:tcPr marL="68580" marR="68580" marT="34290" marB="34290"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 %</a:t>
                      </a:r>
                    </a:p>
                  </a:txBody>
                  <a:tcPr marL="68580" marR="68580" marT="34290" marB="34290">
                    <a:lnT w="127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65573853"/>
                  </a:ext>
                </a:extLst>
              </a:tr>
              <a:tr h="287329">
                <a:tc>
                  <a:txBody>
                    <a:bodyPr/>
                    <a:lstStyle/>
                    <a:p>
                      <a:r>
                        <a:rPr lang="da-DK" sz="11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MD Social Pension UD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4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-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4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9 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82765309"/>
                  </a:ext>
                </a:extLst>
              </a:tr>
              <a:tr h="287329">
                <a:tc>
                  <a:txBody>
                    <a:bodyPr/>
                    <a:lstStyle/>
                    <a:p>
                      <a:r>
                        <a:rPr lang="da-DK" sz="11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MD UHB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-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 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844606466"/>
                  </a:ext>
                </a:extLst>
              </a:tr>
              <a:tr h="287329">
                <a:tc>
                  <a:txBody>
                    <a:bodyPr/>
                    <a:lstStyle/>
                    <a:p>
                      <a:r>
                        <a:rPr lang="da-DK" sz="11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MD BY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 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8443944"/>
                  </a:ext>
                </a:extLst>
              </a:tr>
              <a:tr h="287329">
                <a:tc>
                  <a:txBody>
                    <a:bodyPr/>
                    <a:lstStyle/>
                    <a:p>
                      <a:r>
                        <a:rPr lang="da-DK" sz="11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MD Boligstøtt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9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8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9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6 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625506098"/>
                  </a:ext>
                </a:extLst>
              </a:tr>
              <a:tr h="287329">
                <a:tc>
                  <a:txBody>
                    <a:bodyPr/>
                    <a:lstStyle/>
                    <a:p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MD Dagpenge Sygdo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 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18541640"/>
                  </a:ext>
                </a:extLst>
              </a:tr>
              <a:tr h="287329">
                <a:tc>
                  <a:txBody>
                    <a:bodyPr/>
                    <a:lstStyle/>
                    <a:p>
                      <a:r>
                        <a:rPr lang="da-DK" sz="1100" dirty="0">
                          <a:solidFill>
                            <a:schemeClr val="tx1">
                              <a:lumMod val="25000"/>
                              <a:lumOff val="75000"/>
                            </a:schemeClr>
                          </a:solidFill>
                          <a:highlight>
                            <a:srgbClr val="F6F6F6"/>
                          </a:highlight>
                        </a:rPr>
                        <a:t>KMD ESR</a:t>
                      </a:r>
                      <a:endParaRPr lang="da-DK" sz="1100" b="1" dirty="0">
                        <a:solidFill>
                          <a:schemeClr val="tx1">
                            <a:lumMod val="25000"/>
                            <a:lumOff val="75000"/>
                          </a:schemeClr>
                        </a:solidFill>
                        <a:highlight>
                          <a:srgbClr val="F6F6F6"/>
                        </a:highlight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>
                          <a:solidFill>
                            <a:schemeClr val="tx1">
                              <a:lumMod val="25000"/>
                              <a:lumOff val="75000"/>
                            </a:schemeClr>
                          </a:solidFill>
                          <a:highlight>
                            <a:srgbClr val="F6F6F6"/>
                          </a:highlight>
                        </a:rPr>
                        <a:t>5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>
                          <a:solidFill>
                            <a:schemeClr val="tx1">
                              <a:lumMod val="25000"/>
                              <a:lumOff val="75000"/>
                            </a:schemeClr>
                          </a:solidFill>
                          <a:highlight>
                            <a:srgbClr val="F6F6F6"/>
                          </a:highlight>
                        </a:rPr>
                        <a:t>6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i="1" kern="1200" dirty="0">
                          <a:solidFill>
                            <a:schemeClr val="tx1">
                              <a:lumMod val="25000"/>
                              <a:lumOff val="75000"/>
                            </a:schemeClr>
                          </a:solidFill>
                          <a:highlight>
                            <a:srgbClr val="F6F6F6"/>
                          </a:highlight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>
                          <a:solidFill>
                            <a:schemeClr val="tx1">
                              <a:lumMod val="25000"/>
                              <a:lumOff val="75000"/>
                            </a:schemeClr>
                          </a:solidFill>
                          <a:highlight>
                            <a:srgbClr val="F6F6F6"/>
                          </a:highlight>
                        </a:rPr>
                        <a:t>3 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66728940"/>
                  </a:ext>
                </a:extLst>
              </a:tr>
              <a:tr h="28732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a-DK" sz="1100" kern="1200" dirty="0">
                          <a:solidFill>
                            <a:schemeClr val="tx1">
                              <a:lumMod val="25000"/>
                              <a:lumOff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MD Aktiv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a-DK" sz="1400" kern="1200" dirty="0">
                          <a:solidFill>
                            <a:schemeClr val="tx1">
                              <a:lumMod val="25000"/>
                              <a:lumOff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a-DK" sz="1400" kern="1200" dirty="0">
                          <a:solidFill>
                            <a:schemeClr val="tx1">
                              <a:lumMod val="25000"/>
                              <a:lumOff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a-DK" sz="1400" kern="1200" dirty="0">
                          <a:solidFill>
                            <a:schemeClr val="tx1">
                              <a:lumMod val="25000"/>
                              <a:lumOff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a-DK" sz="1400" kern="1200" dirty="0">
                          <a:solidFill>
                            <a:schemeClr val="tx1">
                              <a:lumMod val="25000"/>
                              <a:lumOff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 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843070060"/>
                  </a:ext>
                </a:extLst>
              </a:tr>
              <a:tr h="287329">
                <a:tc>
                  <a:txBody>
                    <a:bodyPr/>
                    <a:lstStyle/>
                    <a:p>
                      <a:r>
                        <a:rPr lang="da-DK" sz="1100" dirty="0">
                          <a:highlight>
                            <a:srgbClr val="FFFF00"/>
                          </a:highlight>
                        </a:rPr>
                        <a:t>KMD Val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>
                          <a:highlight>
                            <a:srgbClr val="FFFF00"/>
                          </a:highlight>
                        </a:rPr>
                        <a:t>1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>
                          <a:highlight>
                            <a:srgbClr val="FFFF00"/>
                          </a:highlight>
                        </a:rPr>
                        <a:t>1 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73948270"/>
                  </a:ext>
                </a:extLst>
              </a:tr>
              <a:tr h="287329">
                <a:tc>
                  <a:txBody>
                    <a:bodyPr/>
                    <a:lstStyle/>
                    <a:p>
                      <a:r>
                        <a:rPr lang="da-DK" sz="1100" i="1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KMD Sa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a-DK" sz="1400" i="1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7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a-DK" sz="1400" i="1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8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a-DK" sz="1400" i="1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a-DK" sz="1400" i="1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5 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684204633"/>
                  </a:ext>
                </a:extLst>
              </a:tr>
              <a:tr h="401473">
                <a:tc>
                  <a:txBody>
                    <a:bodyPr/>
                    <a:lstStyle/>
                    <a:p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MD Social Pension - Kommuna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i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 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40639454"/>
                  </a:ext>
                </a:extLst>
              </a:tr>
              <a:tr h="287329">
                <a:tc>
                  <a:txBody>
                    <a:bodyPr/>
                    <a:lstStyle/>
                    <a:p>
                      <a:r>
                        <a:rPr lang="da-DK" sz="1100" dirty="0"/>
                        <a:t>Fast vederlag (Bund)</a:t>
                      </a:r>
                      <a:endParaRPr lang="da-DK" sz="11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/>
                        <a:t>40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/>
                        <a:t>40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a-DK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400" dirty="0"/>
                        <a:t>60 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335214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21741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02860CE-B34C-4462-834B-83C780DE12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02860CE-B34C-4462-834B-83C780DE1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FF2F71D-33E9-4FFF-86F8-48593FF5394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025"/>
              </a:lnSpc>
              <a:spcBef>
                <a:spcPct val="0"/>
              </a:spcBef>
              <a:spcAft>
                <a:spcPct val="0"/>
              </a:spcAft>
            </a:pPr>
            <a:endParaRPr lang="da-DK" sz="225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114DBEA-81BE-4BEA-BD34-24080521E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Opsamling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AA4B860-9DE9-4984-A6C2-26F0827BCF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923748"/>
            <a:ext cx="8171999" cy="3079728"/>
          </a:xfrm>
        </p:spPr>
        <p:txBody>
          <a:bodyPr/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da-DK" dirty="0"/>
              <a:t>PL-regulering </a:t>
            </a:r>
          </a:p>
          <a:p>
            <a:pPr marL="660797" lvl="3" indent="-257175"/>
            <a:r>
              <a:rPr lang="da-DK" dirty="0"/>
              <a:t>2018-19 på 2,0%</a:t>
            </a:r>
          </a:p>
          <a:p>
            <a:pPr marL="660797" lvl="3" indent="-257175"/>
            <a:r>
              <a:rPr lang="da-DK" dirty="0"/>
              <a:t>2019-20 på 2,1%</a:t>
            </a:r>
          </a:p>
          <a:p>
            <a:pPr marL="660797" lvl="3" indent="-257175"/>
            <a:r>
              <a:rPr lang="da-DK" dirty="0"/>
              <a:t>2020-21 på 1,5%</a:t>
            </a:r>
          </a:p>
          <a:p>
            <a:pPr marL="660797" lvl="3" indent="-257175"/>
            <a:r>
              <a:rPr lang="da-DK" dirty="0"/>
              <a:t>2021-22 på 1,9%</a:t>
            </a:r>
          </a:p>
          <a:p>
            <a:pPr marL="660797" lvl="3" indent="-257175"/>
            <a:r>
              <a:rPr lang="da-DK" dirty="0"/>
              <a:t>2022-23 på 2,5%</a:t>
            </a:r>
          </a:p>
          <a:p>
            <a:pPr marL="660797" lvl="3" indent="-257175"/>
            <a:r>
              <a:rPr lang="da-DK" dirty="0"/>
              <a:t>2023-24 på 3,9%</a:t>
            </a:r>
          </a:p>
          <a:p>
            <a:pPr marL="660797" lvl="3" indent="-257175"/>
            <a:r>
              <a:rPr lang="da-DK" dirty="0"/>
              <a:t>2024-25 på 4,0%</a:t>
            </a:r>
            <a:br>
              <a:rPr lang="da-DK" dirty="0"/>
            </a:br>
            <a:endParaRPr lang="da-DK" dirty="0"/>
          </a:p>
          <a:p>
            <a:pPr marL="257175" lvl="1" indent="-257175">
              <a:buFont typeface="Arial" panose="020B0604020202020204" pitchFamily="34" charset="0"/>
              <a:buChar char="•"/>
            </a:pPr>
            <a:r>
              <a:rPr lang="da-DK" b="0" u="sng" dirty="0">
                <a:solidFill>
                  <a:schemeClr val="tx1"/>
                </a:solidFill>
              </a:rPr>
              <a:t>Aktiviteter i 2024</a:t>
            </a:r>
          </a:p>
          <a:p>
            <a:pPr marL="660797" lvl="3" indent="-257175"/>
            <a:r>
              <a:rPr lang="da-DK" dirty="0"/>
              <a:t>Opsigelse af KMD CVR samt CPR anvendelse under ESR med </a:t>
            </a:r>
            <a:r>
              <a:rPr lang="da-DK" dirty="0" err="1"/>
              <a:t>ikræfttrædelse</a:t>
            </a:r>
            <a:r>
              <a:rPr lang="da-DK" dirty="0"/>
              <a:t> 1. juli 2024</a:t>
            </a:r>
          </a:p>
          <a:p>
            <a:pPr marL="660797" lvl="3" indent="-257175"/>
            <a:r>
              <a:rPr lang="da-DK" dirty="0"/>
              <a:t>Opsigelse af KMD Indkomst med </a:t>
            </a:r>
            <a:r>
              <a:rPr lang="da-DK" dirty="0" err="1"/>
              <a:t>ikræfttrædelse</a:t>
            </a:r>
            <a:r>
              <a:rPr lang="da-DK" dirty="0"/>
              <a:t> 31. december 2024.</a:t>
            </a:r>
          </a:p>
          <a:p>
            <a:pPr marL="660797" lvl="3" indent="-257175"/>
            <a:r>
              <a:rPr lang="da-DK" dirty="0"/>
              <a:t>Arkivering, månedlig opfølgning med KMD og lokalarkiver</a:t>
            </a:r>
          </a:p>
          <a:p>
            <a:pPr marL="660797" lvl="3" indent="-257175"/>
            <a:endParaRPr lang="da-DK" dirty="0"/>
          </a:p>
          <a:p>
            <a:pPr marL="257175" marR="0" lvl="1" indent="-257175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EB052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sng" strike="noStrike" kern="0" cap="none" spc="0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Arial"/>
              </a:rPr>
              <a:t>Aktiviteter i 2025</a:t>
            </a:r>
          </a:p>
          <a:p>
            <a:pPr marL="660797" marR="0" lvl="3" indent="-2571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mbriaMath"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Opsigelse af KMD VALG 31/3-25 med 6mdr. varsel ikrafttrædelse 30. september 2025</a:t>
            </a:r>
          </a:p>
          <a:p>
            <a:pPr marL="660797" marR="0" lvl="3" indent="-2571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mbriaMath"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Opsigelse af KMD Udbetaling Dato for opsigelse kendes endnu ikke, men 12 </a:t>
            </a:r>
            <a:r>
              <a:rPr kumimoji="0" lang="da-DK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mdr’s</a:t>
            </a:r>
            <a:r>
              <a:rPr kumimoji="0" lang="da-DK" sz="1000" b="0" i="0" u="none" strike="noStrike" kern="0" cap="none" spc="0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 varsel</a:t>
            </a:r>
          </a:p>
          <a:p>
            <a:pPr marL="660797" marR="0" lvl="3" indent="-2571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mbriaMath"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rkivering, månedlig opfølgning med KMD og lokalarkiver</a:t>
            </a:r>
          </a:p>
          <a:p>
            <a:pPr marL="660797" lvl="3" indent="-257175"/>
            <a:endParaRPr lang="da-DK" dirty="0"/>
          </a:p>
          <a:p>
            <a:pPr marL="660797" lvl="3" indent="-257175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64278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427504-7434-F071-101E-0676927CC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3: Økonomien og løsninger 2024</a:t>
            </a:r>
            <a:br>
              <a:rPr lang="da-DK" dirty="0"/>
            </a:b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53D57F-46C1-DEB9-A74C-BD267EC2F8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696428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16C3B-0854-C7CC-6076-D63BE9ABA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1470"/>
            <a:ext cx="8207375" cy="647973"/>
          </a:xfrm>
        </p:spPr>
        <p:txBody>
          <a:bodyPr/>
          <a:lstStyle/>
          <a:p>
            <a:r>
              <a:rPr lang="da-DK" dirty="0"/>
              <a:t>Omsætning 2024 98 kommuner – Hovedtal og sum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C55F03B-F8AE-F958-6A49-E0FE086C5F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/>
              <a:t> 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5A98A18-E180-2673-A907-03EEF945D1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UKFS</a:t>
            </a:r>
          </a:p>
        </p:txBody>
      </p:sp>
      <p:graphicFrame>
        <p:nvGraphicFramePr>
          <p:cNvPr id="5" name="Tabel 4">
            <a:extLst>
              <a:ext uri="{FF2B5EF4-FFF2-40B4-BE49-F238E27FC236}">
                <a16:creationId xmlns:a16="http://schemas.microsoft.com/office/drawing/2014/main" id="{B06E1FF1-1A23-2ECB-5CFB-25F1C2E2AF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9022970"/>
              </p:ext>
            </p:extLst>
          </p:nvPr>
        </p:nvGraphicFramePr>
        <p:xfrm>
          <a:off x="827584" y="699542"/>
          <a:ext cx="5424264" cy="333756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3408040">
                  <a:extLst>
                    <a:ext uri="{9D8B030D-6E8A-4147-A177-3AD203B41FA5}">
                      <a16:colId xmlns:a16="http://schemas.microsoft.com/office/drawing/2014/main" val="345828962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0166812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Løsning/</a:t>
                      </a:r>
                      <a:r>
                        <a:rPr lang="da-DK" dirty="0" err="1"/>
                        <a:t>forudsætningsystem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/>
                        <a:t>Fakturer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64509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ES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07.150.1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70077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P-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41.674.78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7751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KMD-Val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8.242.36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1209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Doc2Archive og arkiv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7.943.3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10761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KSP/</a:t>
                      </a:r>
                      <a:r>
                        <a:rPr lang="da-DK" dirty="0" err="1"/>
                        <a:t>CiCS</a:t>
                      </a:r>
                      <a:r>
                        <a:rPr lang="da-DK" dirty="0"/>
                        <a:t> og L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7.640.97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81533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KMD Indkom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5.795.03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3094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KMD Udbetaling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8.456.6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0064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i="1" dirty="0"/>
                        <a:t>I alt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i="1" dirty="0"/>
                        <a:t>266.903.2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2410691"/>
                  </a:ext>
                </a:extLst>
              </a:tr>
            </a:tbl>
          </a:graphicData>
        </a:graphic>
      </p:graphicFrame>
      <p:sp>
        <p:nvSpPr>
          <p:cNvPr id="8" name="Tekstfelt 7">
            <a:extLst>
              <a:ext uri="{FF2B5EF4-FFF2-40B4-BE49-F238E27FC236}">
                <a16:creationId xmlns:a16="http://schemas.microsoft.com/office/drawing/2014/main" id="{F1F04A3F-FE35-5092-CE98-1B76549A0B99}"/>
              </a:ext>
            </a:extLst>
          </p:cNvPr>
          <p:cNvSpPr txBox="1"/>
          <p:nvPr/>
        </p:nvSpPr>
        <p:spPr>
          <a:xfrm>
            <a:off x="755576" y="4083918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1" i="0" u="sng" strike="noStrike" kern="1200" cap="none" spc="0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Bevægelser 2023-2024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Omlægning af ESR til CPR og CVR data 2023 med effekt fra juli 2024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050" b="0" i="1" u="none" strike="noStrike" kern="1200" cap="none" spc="0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Opsigelse af KMD- Indkomst med effekt 31. december 2024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1" u="none" strike="noStrike" kern="1200" cap="none" spc="0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Bevægelse 2025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050" b="0" i="1" u="none" strike="noStrike" kern="1200" cap="none" spc="0" normalizeH="0" baseline="0" noProof="0" dirty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Opsigelse af KMD Valg og P data med effekt fra 30. september. 2025</a:t>
            </a:r>
          </a:p>
          <a:p>
            <a:pPr algn="l">
              <a:spcAft>
                <a:spcPts val="300"/>
              </a:spcAft>
            </a:pPr>
            <a:endParaRPr lang="da-DK" sz="1000" kern="0" dirty="0" err="1">
              <a:latin typeface="Neue Haas Grotesk Text Pro" panose="020B0504020202020204" pitchFamily="34" charset="77"/>
              <a:cs typeface="Arial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A723FA1C-DE72-5D5E-601B-8C524483A1E7}"/>
              </a:ext>
            </a:extLst>
          </p:cNvPr>
          <p:cNvSpPr txBox="1"/>
          <p:nvPr/>
        </p:nvSpPr>
        <p:spPr>
          <a:xfrm>
            <a:off x="6249888" y="3219822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a-DK" sz="1200" kern="0" dirty="0">
                <a:latin typeface="Neue Haas Grotesk Text Pro" panose="020B0504020202020204" pitchFamily="34" charset="77"/>
                <a:cs typeface="Arial"/>
              </a:rPr>
              <a:t>*KSD andel, baseret på 2023</a:t>
            </a:r>
          </a:p>
          <a:p>
            <a:pPr algn="l">
              <a:spcAft>
                <a:spcPts val="300"/>
              </a:spcAft>
            </a:pPr>
            <a:r>
              <a:rPr lang="da-DK" sz="1200" kern="0" dirty="0">
                <a:latin typeface="Neue Haas Grotesk Text Pro" panose="020B0504020202020204" pitchFamily="34" charset="77"/>
                <a:cs typeface="Arial"/>
              </a:rPr>
              <a:t> ca. 13. </a:t>
            </a:r>
            <a:r>
              <a:rPr lang="da-DK" sz="1200" kern="0" dirty="0" err="1">
                <a:latin typeface="Neue Haas Grotesk Text Pro" panose="020B0504020202020204" pitchFamily="34" charset="77"/>
                <a:cs typeface="Arial"/>
              </a:rPr>
              <a:t>mio</a:t>
            </a:r>
            <a:endParaRPr lang="da-DK" sz="1200" kern="0" dirty="0">
              <a:latin typeface="Neue Haas Grotesk Text Pro" panose="020B0504020202020204" pitchFamily="34" charset="77"/>
              <a:cs typeface="Arial"/>
            </a:endParaRP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04EFD378-A5EB-080B-75AD-854C59088156}"/>
              </a:ext>
            </a:extLst>
          </p:cNvPr>
          <p:cNvSpPr txBox="1"/>
          <p:nvPr/>
        </p:nvSpPr>
        <p:spPr>
          <a:xfrm>
            <a:off x="6300192" y="3673574"/>
            <a:ext cx="2376264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a-DK" sz="1200" kern="0" dirty="0">
                <a:latin typeface="Neue Haas Grotesk Text Pro" panose="020B0504020202020204" pitchFamily="34" charset="77"/>
                <a:cs typeface="Arial"/>
              </a:rPr>
              <a:t>**Omsætning afrundet 2023:</a:t>
            </a:r>
          </a:p>
          <a:p>
            <a:pPr algn="l">
              <a:spcAft>
                <a:spcPts val="300"/>
              </a:spcAft>
            </a:pPr>
            <a:r>
              <a:rPr lang="da-DK" sz="1200" kern="0" dirty="0">
                <a:latin typeface="Neue Haas Grotesk Text Pro" panose="020B0504020202020204" pitchFamily="34" charset="77"/>
                <a:cs typeface="Arial"/>
              </a:rPr>
              <a:t> 286.900.000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39205D0B-7CA2-FF7C-DECC-0018BE267C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7121" y="555526"/>
            <a:ext cx="2619375" cy="174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2362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BFCC43-C1E7-C93D-958A-8CC1E004D3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pørgsmå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5520954-3497-AB12-DE6F-C7343691DF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                                                   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				</a:t>
            </a:r>
            <a:r>
              <a:rPr lang="da-DK" sz="4800" dirty="0"/>
              <a:t>?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3F73E21-00AF-7EBA-923E-3D5BE2501D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UKFS</a:t>
            </a:r>
          </a:p>
        </p:txBody>
      </p:sp>
      <p:pic>
        <p:nvPicPr>
          <p:cNvPr id="7" name="Pladsholder til billede 6" descr="Et billede, der indeholder udendørs, bygning, sky, vand&#10;&#10;Indhold genereret af kunstig intelligens kan være forkert.">
            <a:extLst>
              <a:ext uri="{FF2B5EF4-FFF2-40B4-BE49-F238E27FC236}">
                <a16:creationId xmlns:a16="http://schemas.microsoft.com/office/drawing/2014/main" id="{2B29D688-07A7-37E4-7544-65469F2C405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11836" r="1183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771325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 descr="Et billede, der indeholder vindue, bamse, indendørs, tøj&#10;&#10;Indhold genereret af kunstig intelligens kan være forkert.">
            <a:extLst>
              <a:ext uri="{FF2B5EF4-FFF2-40B4-BE49-F238E27FC236}">
                <a16:creationId xmlns:a16="http://schemas.microsoft.com/office/drawing/2014/main" id="{0C96CB2A-4B68-A08C-0AD0-BBE8B17F2B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430"/>
            <a:ext cx="9144000" cy="5120640"/>
          </a:xfrm>
          <a:prstGeom prst="rect">
            <a:avLst/>
          </a:prstGeo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2C9552F-C96F-188C-2C6D-588569061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672" y="1419623"/>
            <a:ext cx="5904656" cy="1152128"/>
          </a:xfrm>
        </p:spPr>
        <p:txBody>
          <a:bodyPr anchor="b">
            <a:normAutofit/>
          </a:bodyPr>
          <a:lstStyle/>
          <a:p>
            <a:r>
              <a:rPr lang="da-DK" dirty="0"/>
              <a:t>Pause 10 min.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5412FC3-25FB-14AD-2306-B34D2BD794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07704" y="2715766"/>
            <a:ext cx="5328592" cy="1152128"/>
          </a:xfrm>
        </p:spPr>
        <p:txBody>
          <a:bodyPr anchor="t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da-DK" sz="1000"/>
              <a:t>					</a:t>
            </a:r>
          </a:p>
          <a:p>
            <a:pPr marL="0" indent="0">
              <a:lnSpc>
                <a:spcPct val="90000"/>
              </a:lnSpc>
              <a:buNone/>
            </a:pPr>
            <a:endParaRPr lang="da-DK" sz="1000"/>
          </a:p>
          <a:p>
            <a:pPr marL="0" indent="0">
              <a:lnSpc>
                <a:spcPct val="90000"/>
              </a:lnSpc>
              <a:buNone/>
            </a:pPr>
            <a:endParaRPr lang="da-DK" sz="1000"/>
          </a:p>
          <a:p>
            <a:pPr marL="0" indent="0">
              <a:lnSpc>
                <a:spcPct val="90000"/>
              </a:lnSpc>
              <a:buNone/>
            </a:pPr>
            <a:endParaRPr lang="da-DK" sz="1000"/>
          </a:p>
          <a:p>
            <a:pPr marL="0" indent="0">
              <a:lnSpc>
                <a:spcPct val="90000"/>
              </a:lnSpc>
              <a:buNone/>
            </a:pPr>
            <a:r>
              <a:rPr lang="da-DK" sz="1000"/>
              <a:t>					Paus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73CF46C-35A6-4B28-840D-3C6DB80A1A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6110" y="4728638"/>
            <a:ext cx="219600" cy="2196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2C2A950-1EE0-5428-037A-DC480CC6161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68313" y="339998"/>
            <a:ext cx="4103687" cy="144190"/>
          </a:xfrm>
        </p:spPr>
        <p:txBody>
          <a:bodyPr/>
          <a:lstStyle/>
          <a:p>
            <a:r>
              <a:rPr lang="da-DK" dirty="0"/>
              <a:t>UKFS</a:t>
            </a:r>
          </a:p>
        </p:txBody>
      </p:sp>
    </p:spTree>
    <p:extLst>
      <p:ext uri="{BB962C8B-B14F-4D97-AF65-F5344CB8AC3E}">
        <p14:creationId xmlns:p14="http://schemas.microsoft.com/office/powerpoint/2010/main" val="4779839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96AEBA-394B-587F-1249-7F3FA8B5B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5: Arkiver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002E6E3-B1DD-1760-021C-58643D4C1F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012549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C40E9D-88D8-69B9-7864-6711335AB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5160315-1EAA-06C2-D04C-7382CB366D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/>
              <a:t> 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656AF045-E5FC-CB95-4305-CB740FE8AD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UKFS arkiv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375641C7-0609-905D-B96F-655BE1D4E5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48589"/>
            <a:ext cx="9144000" cy="4646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4218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492925-05E2-C79F-0E5F-2D8239A1B1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tatus arkiver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FCF7DB2-CD04-BC35-EEF0-F0C693EBA6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sz="1800" dirty="0"/>
              <a:t>Afleveringsstatus marts 2025</a:t>
            </a:r>
          </a:p>
          <a:p>
            <a:endParaRPr lang="da-DK" dirty="0"/>
          </a:p>
          <a:p>
            <a:endParaRPr lang="da-DK" dirty="0"/>
          </a:p>
          <a:p>
            <a:r>
              <a:rPr lang="da-DK" sz="1600" dirty="0"/>
              <a:t>For perioden 2012-2023 er der godkendt 186 arkiveringsversioner (67%) og yderligere 74 arkiveringsversioner er blevet afleveret til arkiv og afventer godkendelse. 0 sager afventer genaflevering. </a:t>
            </a:r>
          </a:p>
          <a:p>
            <a:r>
              <a:rPr lang="da-DK" sz="1600" dirty="0"/>
              <a:t>Der er således 259 arkiveringsversioner (94%), som er kommet over det kritiske punkt at blive afleveret. 16 arkiveringsversioner er endnu ikke afleveret (6%). 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7A22955-EDAA-50AA-D081-96EB435A47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Status arkivering</a:t>
            </a:r>
          </a:p>
        </p:txBody>
      </p:sp>
    </p:spTree>
    <p:extLst>
      <p:ext uri="{BB962C8B-B14F-4D97-AF65-F5344CB8AC3E}">
        <p14:creationId xmlns:p14="http://schemas.microsoft.com/office/powerpoint/2010/main" val="3110008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8139DC-D2E1-3543-29D6-6682080130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elkommen til mødet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7083DBB-5450-036A-0E82-300D990BEE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Praktisk information</a:t>
            </a:r>
          </a:p>
        </p:txBody>
      </p:sp>
      <p:sp>
        <p:nvSpPr>
          <p:cNvPr id="15" name="Pladsholder til tekst 14">
            <a:extLst>
              <a:ext uri="{FF2B5EF4-FFF2-40B4-BE49-F238E27FC236}">
                <a16:creationId xmlns:a16="http://schemas.microsoft.com/office/drawing/2014/main" id="{8F30779B-9B87-B0BA-E598-39E17C5B3F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Praktisk information</a:t>
            </a: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21F118B1-EAF2-493C-9147-1E7CD7809AA9}"/>
              </a:ext>
            </a:extLst>
          </p:cNvPr>
          <p:cNvSpPr/>
          <p:nvPr/>
        </p:nvSpPr>
        <p:spPr>
          <a:xfrm>
            <a:off x="6519862" y="1635646"/>
            <a:ext cx="1188000" cy="1188000"/>
          </a:xfrm>
          <a:prstGeom prst="rect">
            <a:avLst/>
          </a:prstGeom>
          <a:solidFill>
            <a:srgbClr val="F3EF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br>
              <a:rPr lang="da-DK" sz="800" dirty="0">
                <a:solidFill>
                  <a:schemeClr val="tx1"/>
                </a:solidFill>
                <a:latin typeface="Arial"/>
                <a:cs typeface="Arial"/>
              </a:rPr>
            </a:br>
            <a:endParaRPr lang="da-DK" sz="8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6222D2E4-BE8A-4DF9-9F76-A3B694628A7D}"/>
              </a:ext>
            </a:extLst>
          </p:cNvPr>
          <p:cNvSpPr/>
          <p:nvPr/>
        </p:nvSpPr>
        <p:spPr>
          <a:xfrm>
            <a:off x="5148263" y="1635646"/>
            <a:ext cx="1188000" cy="1188000"/>
          </a:xfrm>
          <a:prstGeom prst="rect">
            <a:avLst/>
          </a:prstGeom>
          <a:solidFill>
            <a:srgbClr val="F3EF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br>
              <a:rPr lang="da-DK" sz="800" dirty="0">
                <a:solidFill>
                  <a:schemeClr val="tx1"/>
                </a:solidFill>
                <a:latin typeface="Arial"/>
                <a:cs typeface="Arial"/>
              </a:rPr>
            </a:br>
            <a:endParaRPr lang="da-DK" sz="8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579917F8-D357-4E3A-A7E0-B723DA55A843}"/>
              </a:ext>
            </a:extLst>
          </p:cNvPr>
          <p:cNvSpPr/>
          <p:nvPr/>
        </p:nvSpPr>
        <p:spPr>
          <a:xfrm>
            <a:off x="6519862" y="2995592"/>
            <a:ext cx="1188000" cy="1188000"/>
          </a:xfrm>
          <a:prstGeom prst="rect">
            <a:avLst/>
          </a:prstGeom>
          <a:solidFill>
            <a:srgbClr val="F3EF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br>
              <a:rPr lang="da-DK" sz="800" dirty="0">
                <a:solidFill>
                  <a:schemeClr val="tx1"/>
                </a:solidFill>
                <a:latin typeface="Arial"/>
                <a:cs typeface="Arial"/>
              </a:rPr>
            </a:br>
            <a:endParaRPr lang="da-DK" sz="8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99BDFE66-56AF-4823-9C0A-8B9B8A916B7E}"/>
              </a:ext>
            </a:extLst>
          </p:cNvPr>
          <p:cNvSpPr/>
          <p:nvPr/>
        </p:nvSpPr>
        <p:spPr>
          <a:xfrm>
            <a:off x="5148263" y="2995592"/>
            <a:ext cx="1188000" cy="1188000"/>
          </a:xfrm>
          <a:prstGeom prst="rect">
            <a:avLst/>
          </a:prstGeom>
          <a:solidFill>
            <a:srgbClr val="F3EF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8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C5733E1-1227-48F0-995D-602ABA641C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15475" y="3285238"/>
            <a:ext cx="596774" cy="596774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867982C6-240C-4FDB-B29E-A33322D85F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04780" y="2041660"/>
            <a:ext cx="343429" cy="366983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A0E634AD-443E-4E9C-A34D-371E8A4CD1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44431" y="3285238"/>
            <a:ext cx="608707" cy="608707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2601D50D-8C03-4798-B3F2-3B0C5EE4D37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50856" y="1927972"/>
            <a:ext cx="603348" cy="60334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1DDEC4E-BA08-4012-9E0B-764A61D3F5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93962" y="2041660"/>
            <a:ext cx="410842" cy="410842"/>
          </a:xfrm>
          <a:prstGeom prst="rect">
            <a:avLst/>
          </a:prstGeom>
        </p:spPr>
      </p:pic>
      <p:cxnSp>
        <p:nvCxnSpPr>
          <p:cNvPr id="7" name="Lige forbindelse 6">
            <a:extLst>
              <a:ext uri="{FF2B5EF4-FFF2-40B4-BE49-F238E27FC236}">
                <a16:creationId xmlns:a16="http://schemas.microsoft.com/office/drawing/2014/main" id="{4EBD4F56-4710-4828-B245-FE8743AF4D6D}"/>
              </a:ext>
            </a:extLst>
          </p:cNvPr>
          <p:cNvCxnSpPr/>
          <p:nvPr/>
        </p:nvCxnSpPr>
        <p:spPr bwMode="auto">
          <a:xfrm flipH="1">
            <a:off x="5742263" y="1851670"/>
            <a:ext cx="6521" cy="72008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pic>
        <p:nvPicPr>
          <p:cNvPr id="10" name="Pladsholder til billede 9" descr="Et billede, der indeholder tekst, kort, Plan, diagram&#10;&#10;Indhold genereret af kunstig intelligens kan være forkert.">
            <a:extLst>
              <a:ext uri="{FF2B5EF4-FFF2-40B4-BE49-F238E27FC236}">
                <a16:creationId xmlns:a16="http://schemas.microsoft.com/office/drawing/2014/main" id="{4C2697D4-3A75-34C5-40C8-2338C25FF6A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13"/>
          <a:srcRect t="5306" b="530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542551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BA947C-2B1B-C2D0-CEBD-C7468EF70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rkivering status - Afleveret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EBD543C5-0145-AA3E-237A-D88523AB54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584" y="1552574"/>
            <a:ext cx="8045827" cy="2819375"/>
          </a:xfrm>
          <a:prstGeom prst="rect">
            <a:avLst/>
          </a:prstGeom>
        </p:spPr>
      </p:pic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CD69064-1718-0D8B-29B7-6586EE9C71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/>
              <a:t> 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68E98480-9037-07B1-4F99-8A76E759EF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UKFS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96C1DCFE-C876-8A3F-6CFD-50182E4A2119}"/>
              </a:ext>
            </a:extLst>
          </p:cNvPr>
          <p:cNvSpPr txBox="1"/>
          <p:nvPr/>
        </p:nvSpPr>
        <p:spPr>
          <a:xfrm>
            <a:off x="899592" y="4731990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a-DK" sz="1600" kern="0" dirty="0">
                <a:latin typeface="Neue Haas Grotesk Text Pro" panose="020B0504020202020204" pitchFamily="34" charset="77"/>
                <a:cs typeface="Arial"/>
              </a:rPr>
              <a:t>Afleveret – Afventer godkendelse hos kommune eller lokalarkiv</a:t>
            </a:r>
          </a:p>
        </p:txBody>
      </p:sp>
      <p:cxnSp>
        <p:nvCxnSpPr>
          <p:cNvPr id="9" name="Lige pilforbindelse 8">
            <a:extLst>
              <a:ext uri="{FF2B5EF4-FFF2-40B4-BE49-F238E27FC236}">
                <a16:creationId xmlns:a16="http://schemas.microsoft.com/office/drawing/2014/main" id="{C01BAEC4-4DB0-90F9-3057-BE2199FBAB46}"/>
              </a:ext>
            </a:extLst>
          </p:cNvPr>
          <p:cNvCxnSpPr/>
          <p:nvPr/>
        </p:nvCxnSpPr>
        <p:spPr bwMode="auto">
          <a:xfrm flipV="1">
            <a:off x="1547664" y="2067694"/>
            <a:ext cx="1584176" cy="273580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9405496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784BF4-9256-0DF3-B059-C264AE456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FST Arkiver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950DF90-A05A-8F94-E49A-81528FBC8D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400" dirty="0"/>
              <a:t>En del af pakk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400" dirty="0"/>
              <a:t>Tæt samarbejde med og åbent med KL KMD og lokalarkiv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400" dirty="0"/>
              <a:t>Ikke en kritik - Men flaskehalsen  lige nu er på den kommunale side</a:t>
            </a:r>
          </a:p>
          <a:p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FB21F84-AB6C-C159-8463-67F57113EBE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7" name="Pladsholder til billede 6" descr="Et billede, der indeholder tøj, person, indendørs, Hylder/reoler&#10;&#10;Automatisk genereret beskrivelse">
            <a:extLst>
              <a:ext uri="{FF2B5EF4-FFF2-40B4-BE49-F238E27FC236}">
                <a16:creationId xmlns:a16="http://schemas.microsoft.com/office/drawing/2014/main" id="{CAA032B4-11DF-5878-414B-B851EA3FD78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25111" r="25111"/>
          <a:stretch>
            <a:fillRect/>
          </a:stretch>
        </p:blipFill>
        <p:spPr/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42A02303-DA8E-F8F0-BD02-D7D3420ABC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2989533"/>
            <a:ext cx="4145639" cy="167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3962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1530C4-32E4-038B-B85C-175587D139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525FE0-F5F7-1836-A94E-6113560DE0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pørgsmål: Arkiver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C9D45E6-7EC1-9462-378F-4CAA5EE06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                                                   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				</a:t>
            </a:r>
            <a:r>
              <a:rPr lang="da-DK" sz="4800" dirty="0"/>
              <a:t>?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7574B6E-B841-FBAE-16AD-291A83D1BA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UKFS</a:t>
            </a:r>
          </a:p>
        </p:txBody>
      </p:sp>
      <p:pic>
        <p:nvPicPr>
          <p:cNvPr id="8" name="Pladsholder til billede 7">
            <a:extLst>
              <a:ext uri="{FF2B5EF4-FFF2-40B4-BE49-F238E27FC236}">
                <a16:creationId xmlns:a16="http://schemas.microsoft.com/office/drawing/2014/main" id="{244F6C57-076A-BBAF-427E-082D2DFFC32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23244" r="23244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5130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538D74-9153-4271-FD18-1251F478D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ontaktoplysning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20273B3-2634-182F-7A1D-61F82D4F86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sz="1800" dirty="0"/>
              <a:t>UKFS</a:t>
            </a:r>
          </a:p>
          <a:p>
            <a:endParaRPr lang="da-DK" dirty="0"/>
          </a:p>
          <a:p>
            <a:r>
              <a:rPr lang="da-DK" sz="2000" dirty="0"/>
              <a:t>Tom Bøgeskov </a:t>
            </a:r>
            <a:r>
              <a:rPr lang="da-DK" sz="2000" dirty="0">
                <a:hlinkClick r:id="rId2"/>
              </a:rPr>
              <a:t>tob@kombit.dk</a:t>
            </a:r>
            <a:endParaRPr lang="da-DK" sz="2000" dirty="0"/>
          </a:p>
          <a:p>
            <a:r>
              <a:rPr lang="da-DK" sz="2000" dirty="0"/>
              <a:t>Mobil: 20653125</a:t>
            </a:r>
          </a:p>
          <a:p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5ED1268-00F5-9657-1165-3D7ABA6C34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UKFS</a:t>
            </a:r>
          </a:p>
        </p:txBody>
      </p:sp>
      <p:pic>
        <p:nvPicPr>
          <p:cNvPr id="7" name="Pladsholder til billede 6" descr="Et billede, der indeholder udendørs, bygning, sky, vand&#10;&#10;Indhold genereret af kunstig intelligens kan være forkert.">
            <a:extLst>
              <a:ext uri="{FF2B5EF4-FFF2-40B4-BE49-F238E27FC236}">
                <a16:creationId xmlns:a16="http://schemas.microsoft.com/office/drawing/2014/main" id="{406185DD-16B9-C9C6-E47D-BB2F8B18D6A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t="7813" b="781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5867725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5C0C5C-140D-4A76-A224-583B6194C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55625"/>
            <a:ext cx="3959671" cy="647973"/>
          </a:xfrm>
        </p:spPr>
        <p:txBody>
          <a:bodyPr anchor="t">
            <a:normAutofit/>
          </a:bodyPr>
          <a:lstStyle/>
          <a:p>
            <a:r>
              <a:rPr lang="da-DK" dirty="0"/>
              <a:t>Velkommen og dagens agenda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696510E-354B-45D5-A891-630141E02E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13" y="1203598"/>
            <a:ext cx="3671639" cy="3168650"/>
          </a:xfrm>
        </p:spPr>
        <p:txBody>
          <a:bodyPr>
            <a:noAutofit/>
          </a:bodyPr>
          <a:lstStyle/>
          <a:p>
            <a:r>
              <a:rPr lang="da-DK" sz="1400" dirty="0"/>
              <a:t>0: </a:t>
            </a:r>
            <a:r>
              <a:rPr lang="da-DK" sz="1400" dirty="0">
                <a:effectLst/>
              </a:rPr>
              <a:t>Velkommen </a:t>
            </a:r>
          </a:p>
          <a:p>
            <a:r>
              <a:rPr lang="da-DK" sz="1400" dirty="0">
                <a:effectLst/>
              </a:rPr>
              <a:t>Invitation er gået til </a:t>
            </a:r>
            <a:r>
              <a:rPr lang="da-DK" sz="1400" dirty="0" err="1">
                <a:effectLst/>
              </a:rPr>
              <a:t>Programlederer</a:t>
            </a:r>
            <a:r>
              <a:rPr lang="da-DK" sz="1400" dirty="0">
                <a:effectLst/>
              </a:rPr>
              <a:t>, It- og digitaliseringschefer, </a:t>
            </a:r>
            <a:r>
              <a:rPr lang="da-DK" sz="1400" dirty="0" err="1">
                <a:effectLst/>
              </a:rPr>
              <a:t>Økonomiansv</a:t>
            </a:r>
            <a:r>
              <a:rPr lang="da-DK" sz="1400" dirty="0">
                <a:effectLst/>
              </a:rPr>
              <a:t>. og arkiveringsansvarlige i den enkelte kommune</a:t>
            </a:r>
          </a:p>
          <a:p>
            <a:r>
              <a:rPr lang="da-DK" sz="1400" b="1" u="sng" dirty="0">
                <a:effectLst/>
              </a:rPr>
              <a:t>Program</a:t>
            </a:r>
          </a:p>
          <a:p>
            <a:r>
              <a:rPr lang="da-DK" sz="1400" dirty="0">
                <a:effectLst/>
              </a:rPr>
              <a:t>1: Monopolbrud og Udfasning - Baggrund</a:t>
            </a:r>
          </a:p>
          <a:p>
            <a:r>
              <a:rPr lang="da-DK" sz="1400" dirty="0"/>
              <a:t>2: Løsninger og forudsætningssystemer</a:t>
            </a:r>
          </a:p>
          <a:p>
            <a:r>
              <a:rPr lang="da-DK" sz="1400" dirty="0"/>
              <a:t>3: Økonomien og løsninger 2024</a:t>
            </a:r>
          </a:p>
          <a:p>
            <a:r>
              <a:rPr lang="da-DK" sz="1400" dirty="0"/>
              <a:t>4: Spørgsmål</a:t>
            </a:r>
          </a:p>
          <a:p>
            <a:r>
              <a:rPr lang="da-DK" sz="1400" dirty="0"/>
              <a:t>5: Arkivering</a:t>
            </a:r>
          </a:p>
          <a:p>
            <a:r>
              <a:rPr lang="da-DK" sz="1400" dirty="0"/>
              <a:t>6: Spørgsmål</a:t>
            </a:r>
          </a:p>
          <a:p>
            <a:r>
              <a:rPr lang="da-DK" sz="1400" dirty="0"/>
              <a:t>Tak </a:t>
            </a:r>
            <a:r>
              <a:rPr lang="da-DK" sz="1400" dirty="0">
                <a:effectLst/>
              </a:rPr>
              <a:t>for i dag</a:t>
            </a:r>
            <a:endParaRPr lang="da-DK" sz="1400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A852B87-37FB-7764-A161-54C4CF9B00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8313" y="339726"/>
            <a:ext cx="4103687" cy="144462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Pladsholder til billede 7" descr="Et billede, der indeholder udendørs, sky, græs, plante&#10;&#10;Indhold genereret af kunstig intelligens kan være forkert.">
            <a:extLst>
              <a:ext uri="{FF2B5EF4-FFF2-40B4-BE49-F238E27FC236}">
                <a16:creationId xmlns:a16="http://schemas.microsoft.com/office/drawing/2014/main" id="{61E3E0F1-6F73-10CF-F1A5-800F3ECF0ED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t="13153" b="13153"/>
          <a:stretch/>
        </p:blipFill>
        <p:spPr>
          <a:xfrm>
            <a:off x="4572000" y="555636"/>
            <a:ext cx="4103688" cy="4032227"/>
          </a:xfrm>
          <a:noFill/>
        </p:spPr>
      </p:pic>
    </p:spTree>
    <p:extLst>
      <p:ext uri="{BB962C8B-B14F-4D97-AF65-F5344CB8AC3E}">
        <p14:creationId xmlns:p14="http://schemas.microsoft.com/office/powerpoint/2010/main" val="545538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7161E9-AFC3-1277-B845-EF3C7AAB4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1: Monopolbrud og udfasning</a:t>
            </a:r>
            <a:br>
              <a:rPr lang="da-DK" dirty="0"/>
            </a:br>
            <a:r>
              <a:rPr lang="da-DK" dirty="0"/>
              <a:t>- Rammen og histori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688E376-AE6D-8253-6F1D-2E6697D002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610733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8DFB36-783F-3683-9BC4-B44903B2B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amm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0C3C092-9F54-B8C9-6DC3-6162614316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13" y="1419225"/>
            <a:ext cx="4103687" cy="3168650"/>
          </a:xfrm>
        </p:spPr>
        <p:txBody>
          <a:bodyPr/>
          <a:lstStyle/>
          <a:p>
            <a:r>
              <a:rPr lang="da-DK" sz="1600" dirty="0"/>
              <a:t>U: KFS – Udfasning af Kritiske Forudsætnings Systemer</a:t>
            </a:r>
          </a:p>
          <a:p>
            <a:endParaRPr lang="da-DK" sz="1600" dirty="0"/>
          </a:p>
          <a:p>
            <a:endParaRPr lang="da-DK" sz="1600" dirty="0"/>
          </a:p>
          <a:p>
            <a:r>
              <a:rPr lang="da-DK" sz="1600" dirty="0"/>
              <a:t>Vi har holdt festen – Men den sidste oprydning mangler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940F479-2C4F-FC76-4D52-DA86E32D0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U:KFS</a:t>
            </a:r>
          </a:p>
        </p:txBody>
      </p:sp>
      <p:pic>
        <p:nvPicPr>
          <p:cNvPr id="7" name="Pladsholder til billede 6" descr="Et billede, der indeholder udendørs, græs, sky, gren&#10;&#10;Indhold genereret af kunstig intelligens kan være forkert.">
            <a:extLst>
              <a:ext uri="{FF2B5EF4-FFF2-40B4-BE49-F238E27FC236}">
                <a16:creationId xmlns:a16="http://schemas.microsoft.com/office/drawing/2014/main" id="{83FCB2DC-8D15-5362-0860-AF21CC3E3E2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t="7813" b="781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45632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996CF2-2366-08C4-4EC6-EF3066293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55625"/>
            <a:ext cx="3959671" cy="647973"/>
          </a:xfrm>
        </p:spPr>
        <p:txBody>
          <a:bodyPr anchor="t">
            <a:normAutofit/>
          </a:bodyPr>
          <a:lstStyle/>
          <a:p>
            <a:r>
              <a:rPr lang="da-DK" dirty="0"/>
              <a:t>Ramm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35A5D7C-7731-2C00-80B8-D34AFA4825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13" y="1419225"/>
            <a:ext cx="3671639" cy="3168650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da-DK" sz="1400" dirty="0"/>
              <a:t>Finanslov 2008 med monopolbrud, hvor både den fortsatte forsyningspligt og udfasningen er skrevet ind.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a-DK" sz="1400" dirty="0"/>
              <a:t>KL oprindelig den ene part men ved etablering af KOMBIT overgik opgaven som en del af monopolbruddet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a-DK" sz="1400" dirty="0"/>
              <a:t>Vi har mandatet på vegne af kommunerne til opsigelse</a:t>
            </a:r>
          </a:p>
          <a:p>
            <a:pPr marL="357750" lvl="1" indent="-285750">
              <a:buFont typeface="Wingdings" panose="05000000000000000000" pitchFamily="2" charset="2"/>
              <a:buChar char="q"/>
            </a:pPr>
            <a:r>
              <a:rPr lang="da-DK" sz="1400" dirty="0" err="1"/>
              <a:t>Samarbejdsforum</a:t>
            </a:r>
            <a:r>
              <a:rPr lang="da-DK" sz="1400" dirty="0"/>
              <a:t> med delt. KL, KMD og vi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a-DK" sz="1400" dirty="0"/>
              <a:t>Fortsat opgaver</a:t>
            </a:r>
          </a:p>
          <a:p>
            <a:pPr marL="357750" lvl="1" indent="-285750">
              <a:buFont typeface="Wingdings" panose="05000000000000000000" pitchFamily="2" charset="2"/>
              <a:buChar char="q"/>
            </a:pPr>
            <a:r>
              <a:rPr lang="da-DK" sz="1400" dirty="0"/>
              <a:t>(Valg) og forudsætningssystemer samt arkivering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CDB38F2-4F02-BDD0-F284-3C0190DD72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8313" y="339726"/>
            <a:ext cx="4103687" cy="144462"/>
          </a:xfrm>
        </p:spPr>
        <p:txBody>
          <a:bodyPr/>
          <a:lstStyle/>
          <a:p>
            <a:r>
              <a:rPr lang="en-US" dirty="0"/>
              <a:t>U:KFS</a:t>
            </a:r>
          </a:p>
        </p:txBody>
      </p:sp>
      <p:pic>
        <p:nvPicPr>
          <p:cNvPr id="6" name="Billede 5" descr="Et billede, der indeholder indendørs, tøj, stol, bord&#10;&#10;Automatisk genereret beskrivelse">
            <a:extLst>
              <a:ext uri="{FF2B5EF4-FFF2-40B4-BE49-F238E27FC236}">
                <a16:creationId xmlns:a16="http://schemas.microsoft.com/office/drawing/2014/main" id="{3D89951D-04B3-2D5A-4958-328EEBFD004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2079" b="4227"/>
          <a:stretch/>
        </p:blipFill>
        <p:spPr>
          <a:xfrm>
            <a:off x="4572000" y="555625"/>
            <a:ext cx="4103688" cy="4032250"/>
          </a:xfrm>
          <a:prstGeom prst="rect">
            <a:avLst/>
          </a:prstGeom>
          <a:noFill/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1DA87D56-3B76-A355-40F0-83736158E948}"/>
              </a:ext>
            </a:extLst>
          </p:cNvPr>
          <p:cNvSpPr txBox="1"/>
          <p:nvPr/>
        </p:nvSpPr>
        <p:spPr>
          <a:xfrm>
            <a:off x="683568" y="915566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a-DK" sz="1400" kern="0" dirty="0">
                <a:latin typeface="Neue Haas Grotesk Text Pro" panose="020B0504020202020204" pitchFamily="34" charset="77"/>
                <a:cs typeface="Arial"/>
              </a:rPr>
              <a:t>Det historiske rids</a:t>
            </a:r>
          </a:p>
        </p:txBody>
      </p:sp>
    </p:spTree>
    <p:extLst>
      <p:ext uri="{BB962C8B-B14F-4D97-AF65-F5344CB8AC3E}">
        <p14:creationId xmlns:p14="http://schemas.microsoft.com/office/powerpoint/2010/main" val="41027586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DA3EC7-5617-8E4A-75AF-E4F440518E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2: Løsninger og forudsætningssystem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E49715D-18E0-2666-15D6-6B7FF0457C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092188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C6AC1F-5A33-878C-16D3-6E7CBBB81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55625"/>
            <a:ext cx="3959671" cy="647973"/>
          </a:xfrm>
        </p:spPr>
        <p:txBody>
          <a:bodyPr anchor="t">
            <a:normAutofit/>
          </a:bodyPr>
          <a:lstStyle/>
          <a:p>
            <a:r>
              <a:rPr lang="da-DK" dirty="0"/>
              <a:t>UKFS Fagløsninger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EFBFCC3-E2E5-D942-92C7-141CD833B4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13" y="843558"/>
            <a:ext cx="3383607" cy="3168650"/>
          </a:xfrm>
        </p:spPr>
        <p:txBody>
          <a:bodyPr/>
          <a:lstStyle/>
          <a:p>
            <a:r>
              <a:rPr lang="en-US" sz="1600" dirty="0"/>
              <a:t>Det var et </a:t>
            </a:r>
            <a:r>
              <a:rPr lang="en-US" sz="1600" dirty="0" err="1"/>
              <a:t>bredt</a:t>
            </a:r>
            <a:r>
              <a:rPr lang="en-US" sz="1600" dirty="0"/>
              <a:t> </a:t>
            </a:r>
            <a:r>
              <a:rPr lang="en-US" sz="1600" dirty="0" err="1"/>
              <a:t>spekter</a:t>
            </a:r>
            <a:r>
              <a:rPr lang="en-US" sz="1600" dirty="0"/>
              <a:t> </a:t>
            </a:r>
            <a:r>
              <a:rPr lang="en-US" sz="1600" dirty="0" err="1"/>
              <a:t>af</a:t>
            </a:r>
            <a:r>
              <a:rPr lang="en-US" sz="1600" dirty="0"/>
              <a:t> </a:t>
            </a:r>
            <a:r>
              <a:rPr lang="en-US" sz="1600" dirty="0" err="1"/>
              <a:t>løsninger</a:t>
            </a:r>
            <a:r>
              <a:rPr lang="en-US" sz="1600" dirty="0"/>
              <a:t>, der var </a:t>
            </a:r>
            <a:r>
              <a:rPr lang="en-US" sz="1600" dirty="0" err="1"/>
              <a:t>omfattet</a:t>
            </a:r>
            <a:r>
              <a:rPr lang="en-US" sz="1600" dirty="0"/>
              <a:t> </a:t>
            </a:r>
            <a:r>
              <a:rPr lang="en-US" sz="1600" dirty="0" err="1"/>
              <a:t>af</a:t>
            </a:r>
            <a:r>
              <a:rPr lang="en-US" sz="1600" dirty="0"/>
              <a:t> </a:t>
            </a:r>
            <a:r>
              <a:rPr lang="en-US" sz="1600" dirty="0" err="1"/>
              <a:t>monopolbruddet</a:t>
            </a:r>
            <a:r>
              <a:rPr lang="en-US" sz="1600" dirty="0"/>
              <a:t> bade hos UDK og hos </a:t>
            </a:r>
            <a:r>
              <a:rPr lang="en-US" sz="1600" dirty="0" err="1"/>
              <a:t>os</a:t>
            </a:r>
            <a:r>
              <a:rPr lang="en-US" sz="1600" dirty="0"/>
              <a:t> – </a:t>
            </a:r>
            <a:r>
              <a:rPr lang="en-US" sz="1600" dirty="0" err="1"/>
              <a:t>Værd</a:t>
            </a:r>
            <a:r>
              <a:rPr lang="en-US" sz="1600" dirty="0"/>
              <a:t> at </a:t>
            </a:r>
            <a:r>
              <a:rPr lang="en-US" sz="1600" dirty="0" err="1"/>
              <a:t>flage</a:t>
            </a:r>
            <a:r>
              <a:rPr lang="en-US" sz="1600" dirty="0"/>
              <a:t> for, at vi med Valg </a:t>
            </a:r>
            <a:r>
              <a:rPr lang="en-US" sz="1600" dirty="0" err="1"/>
              <a:t>løsningen</a:t>
            </a:r>
            <a:r>
              <a:rPr lang="en-US" sz="1600" dirty="0"/>
              <a:t> er et </a:t>
            </a:r>
            <a:r>
              <a:rPr lang="en-US" sz="1600" dirty="0" err="1"/>
              <a:t>meget</a:t>
            </a:r>
            <a:r>
              <a:rPr lang="en-US" sz="1600" dirty="0"/>
              <a:t> </a:t>
            </a:r>
            <a:r>
              <a:rPr lang="en-US" sz="1600" dirty="0" err="1"/>
              <a:t>stort</a:t>
            </a:r>
            <a:r>
              <a:rPr lang="en-US" sz="1600" dirty="0"/>
              <a:t> </a:t>
            </a:r>
            <a:r>
              <a:rPr lang="en-US" sz="1600" dirty="0" err="1"/>
              <a:t>skridt</a:t>
            </a:r>
            <a:r>
              <a:rPr lang="en-US" sz="1600" dirty="0"/>
              <a:t> </a:t>
            </a:r>
            <a:r>
              <a:rPr lang="en-US" sz="1600" dirty="0" err="1"/>
              <a:t>videre</a:t>
            </a:r>
            <a:r>
              <a:rPr lang="en-US" sz="1600" dirty="0"/>
              <a:t>. </a:t>
            </a:r>
          </a:p>
          <a:p>
            <a:r>
              <a:rPr lang="en-US" sz="1600" dirty="0"/>
              <a:t>- Og ja ESR er </a:t>
            </a:r>
            <a:r>
              <a:rPr lang="en-US" sz="1600" dirty="0" err="1"/>
              <a:t>blevet</a:t>
            </a:r>
            <a:r>
              <a:rPr lang="en-US" sz="1600" dirty="0"/>
              <a:t> </a:t>
            </a:r>
            <a:r>
              <a:rPr lang="en-US" sz="1600" dirty="0" err="1"/>
              <a:t>forlænget</a:t>
            </a:r>
            <a:r>
              <a:rPr lang="en-US" sz="1600" dirty="0"/>
              <a:t>, men </a:t>
            </a:r>
            <a:r>
              <a:rPr lang="en-US" sz="1600" dirty="0" err="1"/>
              <a:t>har</a:t>
            </a:r>
            <a:r>
              <a:rPr lang="en-US" sz="1600" dirty="0"/>
              <a:t> nu </a:t>
            </a:r>
            <a:r>
              <a:rPr lang="en-US" sz="1600" dirty="0" err="1"/>
              <a:t>staten</a:t>
            </a:r>
            <a:r>
              <a:rPr lang="en-US" sz="1600" dirty="0"/>
              <a:t> </a:t>
            </a:r>
            <a:r>
              <a:rPr lang="en-US" sz="1600" dirty="0" err="1"/>
              <a:t>som</a:t>
            </a:r>
            <a:r>
              <a:rPr lang="en-US" sz="1600" dirty="0"/>
              <a:t> part </a:t>
            </a:r>
            <a:r>
              <a:rPr lang="en-US" sz="1600" dirty="0" err="1"/>
              <a:t>også</a:t>
            </a:r>
            <a:r>
              <a:rPr lang="en-US" sz="1600" dirty="0"/>
              <a:t>. </a:t>
            </a:r>
          </a:p>
          <a:p>
            <a:endParaRPr lang="en-US" sz="1600" dirty="0"/>
          </a:p>
          <a:p>
            <a:r>
              <a:rPr lang="en-US" sz="1600" dirty="0" err="1"/>
              <a:t>Forudsætningssystemerne</a:t>
            </a:r>
            <a:r>
              <a:rPr lang="en-US" sz="1600" dirty="0"/>
              <a:t> er </a:t>
            </a:r>
            <a:r>
              <a:rPr lang="en-US" sz="1600" dirty="0" err="1"/>
              <a:t>eks</a:t>
            </a:r>
            <a:r>
              <a:rPr lang="en-US" sz="1600" dirty="0"/>
              <a:t>. KMD </a:t>
            </a:r>
            <a:r>
              <a:rPr lang="en-US" sz="1600" dirty="0" err="1"/>
              <a:t>Indkomst</a:t>
            </a:r>
            <a:r>
              <a:rPr lang="en-US" sz="1600" dirty="0"/>
              <a:t>, P-data, KMD </a:t>
            </a:r>
            <a:r>
              <a:rPr lang="en-US" sz="1600" dirty="0" err="1"/>
              <a:t>Udbetaling</a:t>
            </a:r>
            <a:r>
              <a:rPr lang="en-US" sz="1600" dirty="0"/>
              <a:t> - </a:t>
            </a:r>
            <a:r>
              <a:rPr lang="en-US" sz="1600" dirty="0" err="1"/>
              <a:t>også</a:t>
            </a:r>
            <a:r>
              <a:rPr lang="en-US" sz="1600" dirty="0"/>
              <a:t> </a:t>
            </a:r>
            <a:r>
              <a:rPr lang="en-US" sz="1600" dirty="0" err="1"/>
              <a:t>godt</a:t>
            </a:r>
            <a:r>
              <a:rPr lang="en-US" sz="1600" dirty="0"/>
              <a:t> </a:t>
            </a:r>
            <a:r>
              <a:rPr lang="en-US" sz="1600" dirty="0" err="1"/>
              <a:t>på</a:t>
            </a:r>
            <a:r>
              <a:rPr lang="en-US" sz="1600" dirty="0"/>
              <a:t> </a:t>
            </a:r>
            <a:r>
              <a:rPr lang="en-US" sz="1600" dirty="0" err="1"/>
              <a:t>vej</a:t>
            </a:r>
            <a:r>
              <a:rPr lang="en-US" sz="1600" dirty="0"/>
              <a:t>. 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DC2F10B-F98F-FF32-EF22-EF7CEBD7FB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8313" y="339726"/>
            <a:ext cx="4103687" cy="14446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a-DK" dirty="0"/>
              <a:t>UKFS webinar </a:t>
            </a:r>
            <a:endParaRPr lang="da-DK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8B46E46B-2FAD-42EE-2B77-3FDAB1E2C0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6316" y="0"/>
            <a:ext cx="4110100" cy="5143500"/>
          </a:xfrm>
          <a:prstGeom prst="rect">
            <a:avLst/>
          </a:prstGeom>
          <a:noFill/>
        </p:spPr>
      </p:pic>
      <p:cxnSp>
        <p:nvCxnSpPr>
          <p:cNvPr id="28" name="Lige pilforbindelse 27">
            <a:extLst>
              <a:ext uri="{FF2B5EF4-FFF2-40B4-BE49-F238E27FC236}">
                <a16:creationId xmlns:a16="http://schemas.microsoft.com/office/drawing/2014/main" id="{B6307676-856D-2969-3090-A535DADCD908}"/>
              </a:ext>
            </a:extLst>
          </p:cNvPr>
          <p:cNvCxnSpPr>
            <a:cxnSpLocks/>
          </p:cNvCxnSpPr>
          <p:nvPr/>
        </p:nvCxnSpPr>
        <p:spPr bwMode="auto">
          <a:xfrm flipV="1">
            <a:off x="2915816" y="2938468"/>
            <a:ext cx="1219304" cy="487406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5" name="Tekstfelt 4">
            <a:extLst>
              <a:ext uri="{FF2B5EF4-FFF2-40B4-BE49-F238E27FC236}">
                <a16:creationId xmlns:a16="http://schemas.microsoft.com/office/drawing/2014/main" id="{88F068CC-A1D4-42F4-1443-C7F12526062C}"/>
              </a:ext>
            </a:extLst>
          </p:cNvPr>
          <p:cNvSpPr txBox="1"/>
          <p:nvPr/>
        </p:nvSpPr>
        <p:spPr>
          <a:xfrm>
            <a:off x="7020272" y="145182"/>
            <a:ext cx="1706488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a-DK" kern="0" dirty="0">
                <a:solidFill>
                  <a:srgbClr val="92D050"/>
                </a:solidFill>
                <a:latin typeface="Neue Haas Grotesk Text Pro" panose="020B0504020202020204" pitchFamily="34" charset="77"/>
                <a:cs typeface="Arial"/>
              </a:rPr>
              <a:t>Ny løsning VALG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47114E36-6A7D-BB75-783E-DFE2D7FC16D8}"/>
              </a:ext>
            </a:extLst>
          </p:cNvPr>
          <p:cNvSpPr txBox="1"/>
          <p:nvPr/>
        </p:nvSpPr>
        <p:spPr>
          <a:xfrm>
            <a:off x="7380312" y="411510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endParaRPr lang="da-DK" sz="1000" kern="0" dirty="0" err="1">
              <a:latin typeface="Neue Haas Grotesk Text Pro" panose="020B0504020202020204" pitchFamily="34" charset="77"/>
              <a:cs typeface="Arial"/>
            </a:endParaRP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9569B5D5-967F-D587-EAA9-A5337CB3C111}"/>
              </a:ext>
            </a:extLst>
          </p:cNvPr>
          <p:cNvSpPr txBox="1"/>
          <p:nvPr/>
        </p:nvSpPr>
        <p:spPr>
          <a:xfrm>
            <a:off x="7091511" y="1152128"/>
            <a:ext cx="1872977" cy="4115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Arial"/>
              </a:rPr>
              <a:t>Ny løsning KP</a:t>
            </a:r>
          </a:p>
          <a:p>
            <a:pPr algn="l">
              <a:spcAft>
                <a:spcPts val="300"/>
              </a:spcAft>
            </a:pPr>
            <a:endParaRPr lang="da-DK" sz="1000" kern="0" dirty="0" err="1">
              <a:latin typeface="Neue Haas Grotesk Text Pro" panose="020B0504020202020204" pitchFamily="34" charset="77"/>
              <a:cs typeface="Arial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C6901D32-4570-0515-6EFB-02262480C63C}"/>
              </a:ext>
            </a:extLst>
          </p:cNvPr>
          <p:cNvSpPr txBox="1"/>
          <p:nvPr/>
        </p:nvSpPr>
        <p:spPr>
          <a:xfrm>
            <a:off x="7091511" y="1635646"/>
            <a:ext cx="1872976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Arial"/>
              </a:rPr>
              <a:t>Ny løsning KY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36F8F958-5FF4-54BD-73CC-B06DD89DD955}"/>
              </a:ext>
            </a:extLst>
          </p:cNvPr>
          <p:cNvSpPr txBox="1"/>
          <p:nvPr/>
        </p:nvSpPr>
        <p:spPr>
          <a:xfrm>
            <a:off x="7113984" y="2161406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Arial"/>
              </a:rPr>
              <a:t>Ny løsning SAPA</a:t>
            </a:r>
          </a:p>
          <a:p>
            <a:pPr algn="l">
              <a:spcAft>
                <a:spcPts val="300"/>
              </a:spcAft>
            </a:pPr>
            <a:endParaRPr lang="da-DK" sz="1000" kern="0" dirty="0" err="1">
              <a:latin typeface="Neue Haas Grotesk Text Pro" panose="020B0504020202020204" pitchFamily="34" charset="77"/>
              <a:cs typeface="Arial"/>
            </a:endParaRP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18DB11E-30BD-06C4-B4A1-6A77198796EC}"/>
              </a:ext>
            </a:extLst>
          </p:cNvPr>
          <p:cNvSpPr txBox="1"/>
          <p:nvPr/>
        </p:nvSpPr>
        <p:spPr>
          <a:xfrm>
            <a:off x="7402016" y="3075806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Arial"/>
              </a:rPr>
              <a:t>Ny løsning KSD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06EBB0B3-D0FD-DD08-F270-1B40C0277A89}"/>
              </a:ext>
            </a:extLst>
          </p:cNvPr>
          <p:cNvSpPr txBox="1"/>
          <p:nvPr/>
        </p:nvSpPr>
        <p:spPr>
          <a:xfrm>
            <a:off x="6609928" y="3579862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Arial"/>
              </a:rPr>
              <a:t>Ny løsning UDK </a:t>
            </a:r>
          </a:p>
          <a:p>
            <a:pPr algn="l">
              <a:spcAft>
                <a:spcPts val="300"/>
              </a:spcAft>
            </a:pPr>
            <a:endParaRPr lang="da-DK" sz="1000" kern="0" dirty="0" err="1">
              <a:latin typeface="Neue Haas Grotesk Text Pro" panose="020B0504020202020204" pitchFamily="34" charset="77"/>
              <a:cs typeface="Arial"/>
            </a:endParaRP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576607C8-8765-FEA5-3080-77A41F85220E}"/>
              </a:ext>
            </a:extLst>
          </p:cNvPr>
          <p:cNvSpPr txBox="1"/>
          <p:nvPr/>
        </p:nvSpPr>
        <p:spPr>
          <a:xfrm>
            <a:off x="7236296" y="4083918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Arial"/>
              </a:rPr>
              <a:t>Ny løsning UDK</a:t>
            </a:r>
          </a:p>
          <a:p>
            <a:pPr algn="l">
              <a:spcAft>
                <a:spcPts val="300"/>
              </a:spcAft>
            </a:pPr>
            <a:endParaRPr lang="da-DK" sz="1000" kern="0" dirty="0" err="1">
              <a:latin typeface="Neue Haas Grotesk Text Pro" panose="020B0504020202020204" pitchFamily="34" charset="77"/>
              <a:cs typeface="Arial"/>
            </a:endParaRP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E97EAC7F-CBA7-D771-DD75-C101D7A1475D}"/>
              </a:ext>
            </a:extLst>
          </p:cNvPr>
          <p:cNvSpPr txBox="1"/>
          <p:nvPr/>
        </p:nvSpPr>
        <p:spPr>
          <a:xfrm>
            <a:off x="6897960" y="4609678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Arial"/>
              </a:rPr>
              <a:t>Ny løsning UDK</a:t>
            </a:r>
          </a:p>
          <a:p>
            <a:pPr algn="l">
              <a:spcAft>
                <a:spcPts val="300"/>
              </a:spcAft>
            </a:pPr>
            <a:endParaRPr lang="da-DK" sz="1000" kern="0" dirty="0" err="1">
              <a:latin typeface="Neue Haas Grotesk Text Pro" panose="020B0504020202020204" pitchFamily="34" charset="77"/>
              <a:cs typeface="Arial"/>
            </a:endParaRP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A9F8D5D8-0538-A04F-159D-06DED1151AB9}"/>
              </a:ext>
            </a:extLst>
          </p:cNvPr>
          <p:cNvSpPr txBox="1"/>
          <p:nvPr/>
        </p:nvSpPr>
        <p:spPr>
          <a:xfrm>
            <a:off x="5436096" y="649238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a-DK" kern="0" dirty="0">
                <a:latin typeface="Neue Haas Grotesk Text Pro" panose="020B0504020202020204" pitchFamily="34" charset="77"/>
                <a:cs typeface="Arial"/>
              </a:rPr>
              <a:t>Forlænget i nyt </a:t>
            </a:r>
            <a:r>
              <a:rPr lang="da-DK" kern="0" dirty="0" err="1">
                <a:latin typeface="Neue Haas Grotesk Text Pro" panose="020B0504020202020204" pitchFamily="34" charset="77"/>
                <a:cs typeface="Arial"/>
              </a:rPr>
              <a:t>setup</a:t>
            </a:r>
            <a:r>
              <a:rPr lang="da-DK" kern="0" dirty="0">
                <a:latin typeface="Neue Haas Grotesk Text Pro" panose="020B0504020202020204" pitchFamily="34" charset="77"/>
                <a:cs typeface="Arial"/>
              </a:rPr>
              <a:t> til 31/12-26</a:t>
            </a:r>
          </a:p>
        </p:txBody>
      </p:sp>
      <p:cxnSp>
        <p:nvCxnSpPr>
          <p:cNvPr id="17" name="Lige pilforbindelse 16">
            <a:extLst>
              <a:ext uri="{FF2B5EF4-FFF2-40B4-BE49-F238E27FC236}">
                <a16:creationId xmlns:a16="http://schemas.microsoft.com/office/drawing/2014/main" id="{FCB22431-5045-0D87-2C27-87CF694EF96A}"/>
              </a:ext>
            </a:extLst>
          </p:cNvPr>
          <p:cNvCxnSpPr>
            <a:cxnSpLocks/>
          </p:cNvCxnSpPr>
          <p:nvPr/>
        </p:nvCxnSpPr>
        <p:spPr bwMode="auto">
          <a:xfrm flipV="1">
            <a:off x="3343032" y="987574"/>
            <a:ext cx="876958" cy="1440309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3506874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5E8493-B3A3-C2AD-4FCA-E5BFDA4D131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521002" y="708719"/>
            <a:ext cx="6129344" cy="473421"/>
          </a:xfrm>
        </p:spPr>
        <p:txBody>
          <a:bodyPr/>
          <a:lstStyle/>
          <a:p>
            <a:pPr lvl="0"/>
            <a:r>
              <a:rPr lang="da-DK" sz="2025"/>
              <a:t>Udfasning - systemoverblik - forudsætningsløsninger</a:t>
            </a:r>
          </a:p>
        </p:txBody>
      </p:sp>
      <p:graphicFrame>
        <p:nvGraphicFramePr>
          <p:cNvPr id="3" name="Tabel 4">
            <a:extLst>
              <a:ext uri="{FF2B5EF4-FFF2-40B4-BE49-F238E27FC236}">
                <a16:creationId xmlns:a16="http://schemas.microsoft.com/office/drawing/2014/main" id="{5734DE99-DB8E-C7F3-59AF-7E05075D5BA1}"/>
              </a:ext>
            </a:extLst>
          </p:cNvPr>
          <p:cNvGraphicFramePr>
            <a:graphicFrameLocks noGrp="1"/>
          </p:cNvGraphicFramePr>
          <p:nvPr>
            <p:ph type="tbl" idx="4294967295"/>
            <p:extLst>
              <p:ext uri="{D42A27DB-BD31-4B8C-83A1-F6EECF244321}">
                <p14:modId xmlns:p14="http://schemas.microsoft.com/office/powerpoint/2010/main" val="190527486"/>
              </p:ext>
            </p:extLst>
          </p:nvPr>
        </p:nvGraphicFramePr>
        <p:xfrm>
          <a:off x="395536" y="51470"/>
          <a:ext cx="8451058" cy="4728256"/>
        </p:xfrm>
        <a:graphic>
          <a:graphicData uri="http://schemas.openxmlformats.org/drawingml/2006/table">
            <a:tbl>
              <a:tblPr firstRow="1" bandRow="1">
                <a:effectLst/>
                <a:tableStyleId>{21E4AEA4-8DFA-4A89-87EB-49C32662AFE0}</a:tableStyleId>
              </a:tblPr>
              <a:tblGrid>
                <a:gridCol w="297682">
                  <a:extLst>
                    <a:ext uri="{9D8B030D-6E8A-4147-A177-3AD203B41FA5}">
                      <a16:colId xmlns:a16="http://schemas.microsoft.com/office/drawing/2014/main" val="1936919056"/>
                    </a:ext>
                  </a:extLst>
                </a:gridCol>
                <a:gridCol w="638422">
                  <a:extLst>
                    <a:ext uri="{9D8B030D-6E8A-4147-A177-3AD203B41FA5}">
                      <a16:colId xmlns:a16="http://schemas.microsoft.com/office/drawing/2014/main" val="2275194379"/>
                    </a:ext>
                  </a:extLst>
                </a:gridCol>
                <a:gridCol w="857511">
                  <a:extLst>
                    <a:ext uri="{9D8B030D-6E8A-4147-A177-3AD203B41FA5}">
                      <a16:colId xmlns:a16="http://schemas.microsoft.com/office/drawing/2014/main" val="1350059488"/>
                    </a:ext>
                  </a:extLst>
                </a:gridCol>
                <a:gridCol w="648070">
                  <a:extLst>
                    <a:ext uri="{9D8B030D-6E8A-4147-A177-3AD203B41FA5}">
                      <a16:colId xmlns:a16="http://schemas.microsoft.com/office/drawing/2014/main" val="2243637496"/>
                    </a:ext>
                  </a:extLst>
                </a:gridCol>
                <a:gridCol w="655434">
                  <a:extLst>
                    <a:ext uri="{9D8B030D-6E8A-4147-A177-3AD203B41FA5}">
                      <a16:colId xmlns:a16="http://schemas.microsoft.com/office/drawing/2014/main" val="2514102141"/>
                    </a:ext>
                  </a:extLst>
                </a:gridCol>
                <a:gridCol w="1278470">
                  <a:extLst>
                    <a:ext uri="{9D8B030D-6E8A-4147-A177-3AD203B41FA5}">
                      <a16:colId xmlns:a16="http://schemas.microsoft.com/office/drawing/2014/main" val="2724315717"/>
                    </a:ext>
                  </a:extLst>
                </a:gridCol>
                <a:gridCol w="1778558">
                  <a:extLst>
                    <a:ext uri="{9D8B030D-6E8A-4147-A177-3AD203B41FA5}">
                      <a16:colId xmlns:a16="http://schemas.microsoft.com/office/drawing/2014/main" val="735954590"/>
                    </a:ext>
                  </a:extLst>
                </a:gridCol>
                <a:gridCol w="1489668">
                  <a:extLst>
                    <a:ext uri="{9D8B030D-6E8A-4147-A177-3AD203B41FA5}">
                      <a16:colId xmlns:a16="http://schemas.microsoft.com/office/drawing/2014/main" val="3016339538"/>
                    </a:ext>
                  </a:extLst>
                </a:gridCol>
                <a:gridCol w="807243">
                  <a:extLst>
                    <a:ext uri="{9D8B030D-6E8A-4147-A177-3AD203B41FA5}">
                      <a16:colId xmlns:a16="http://schemas.microsoft.com/office/drawing/2014/main" val="1923480138"/>
                    </a:ext>
                  </a:extLst>
                </a:gridCol>
              </a:tblGrid>
              <a:tr h="408496"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Nr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Fag-løsning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Afregnings-metode</a:t>
                      </a:r>
                    </a:p>
                    <a:p>
                      <a:pPr lvl="0"/>
                      <a:endParaRPr lang="da-DK" sz="8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Opsigelsesvarsel</a:t>
                      </a:r>
                    </a:p>
                    <a:p>
                      <a:pPr lvl="0"/>
                      <a:endParaRPr lang="da-DK" sz="8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Last mover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Bemærkning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Forventet opsigelse </a:t>
                      </a:r>
                    </a:p>
                    <a:p>
                      <a:pPr lvl="0"/>
                      <a:endParaRPr lang="da-DK" sz="8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Forslag til tiltag</a:t>
                      </a:r>
                    </a:p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I forlængelse af  møde </a:t>
                      </a:r>
                    </a:p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5.2.24</a:t>
                      </a:r>
                      <a:endParaRPr lang="da-DK" sz="800" dirty="0">
                        <a:solidFill>
                          <a:srgbClr val="00B050"/>
                        </a:solidFill>
                      </a:endParaRPr>
                    </a:p>
                  </a:txBody>
                  <a:tcPr marL="51435" marR="51435" marT="25718" marB="25718">
                    <a:solidFill>
                      <a:srgbClr val="CBC4BC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da-DK" sz="800" dirty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994219715"/>
                  </a:ext>
                </a:extLst>
              </a:tr>
              <a:tr h="526900"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1*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P-Data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Trappemodel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6 måneder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Valg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ESR trin udløst 01.07.2024 i henhold til aftaler. 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 dirty="0"/>
                        <a:t>VALG  november 2025 – Opsiges 6 måned forud.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 dirty="0">
                          <a:solidFill>
                            <a:schemeClr val="tx1"/>
                          </a:solidFill>
                        </a:rPr>
                        <a:t>Sikre at trinet gennemføres</a:t>
                      </a:r>
                    </a:p>
                  </a:txBody>
                  <a:tcPr marL="51435" marR="51435" marT="25718" marB="25718">
                    <a:solidFill>
                      <a:srgbClr val="CBC4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a-DK" sz="800" i="1" dirty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3146735325"/>
                  </a:ext>
                </a:extLst>
              </a:tr>
              <a:tr h="408496"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/>
                        <a:t>3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/>
                        <a:t>KMD eindkomst/FIF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Forbrugsafregnet model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(6 måneder)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KMD Aktiv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Løsningen hænger aftalemæssigt sammen med KMD indkomst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endParaRPr lang="da-DK" sz="800" dirty="0">
                        <a:highlight>
                          <a:srgbClr val="FF0000"/>
                        </a:highlight>
                      </a:endParaRP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 dirty="0"/>
                        <a:t>Se 7</a:t>
                      </a:r>
                    </a:p>
                  </a:txBody>
                  <a:tcPr marL="51435" marR="51435" marT="25718" marB="25718">
                    <a:solidFill>
                      <a:srgbClr val="CBC4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a-DK" sz="800" i="1" dirty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259595064"/>
                  </a:ext>
                </a:extLst>
              </a:tr>
              <a:tr h="408496"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/>
                        <a:t>4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/>
                        <a:t>KSP/CICS/LOS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Trappemodel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6 måneder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ESR eller Valg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Burde være en del ny </a:t>
                      </a:r>
                      <a:r>
                        <a:rPr lang="da-DK" sz="800"/>
                        <a:t>ESR aftale</a:t>
                      </a:r>
                      <a:endParaRPr lang="da-DK" sz="800" dirty="0"/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ESR ved </a:t>
                      </a:r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udgang af 2026 </a:t>
                      </a:r>
                      <a:r>
                        <a:rPr lang="da-DK" sz="800" i="1" dirty="0">
                          <a:solidFill>
                            <a:schemeClr val="tx1"/>
                          </a:solidFill>
                        </a:rPr>
                        <a:t>eller VALG </a:t>
                      </a:r>
                      <a:r>
                        <a:rPr lang="da-DK" sz="800" i="1" dirty="0"/>
                        <a:t>ca. november 2025 – Senest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i="1" dirty="0"/>
                        <a:t>Opsiges </a:t>
                      </a:r>
                      <a:r>
                        <a:rPr lang="da-DK" sz="800" i="1" dirty="0" err="1"/>
                        <a:t>ifbn</a:t>
                      </a:r>
                      <a:r>
                        <a:rPr lang="da-DK" sz="800" i="1" dirty="0">
                          <a:solidFill>
                            <a:schemeClr val="tx1"/>
                          </a:solidFill>
                        </a:rPr>
                        <a:t>. med ESR</a:t>
                      </a:r>
                      <a:endParaRPr lang="da-DK" sz="800" i="1" strike="sngStrike" dirty="0">
                        <a:solidFill>
                          <a:schemeClr val="tx1"/>
                        </a:solidFill>
                      </a:endParaRP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endParaRPr lang="da-DK" sz="800" i="1" dirty="0"/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9673063"/>
                  </a:ext>
                </a:extLst>
              </a:tr>
              <a:tr h="882113"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/>
                        <a:t>5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/>
                        <a:t>KMD Doc2Archive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 err="1"/>
                        <a:t>Forbrugsafreg</a:t>
                      </a:r>
                      <a:r>
                        <a:rPr lang="da-DK" sz="800" dirty="0"/>
                        <a:t>-net model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6 måneder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ESR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Der arbejdes på en løsningsmodel (slette programmel) ift. arkivering ift. fagsystemerne.  </a:t>
                      </a:r>
                    </a:p>
                    <a:p>
                      <a:pPr lvl="0"/>
                      <a:endParaRPr lang="da-DK" sz="800" dirty="0">
                        <a:solidFill>
                          <a:schemeClr val="tx1"/>
                        </a:solidFill>
                      </a:endParaRPr>
                    </a:p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Obs. på UDK-problemstilling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ESR ved udgang af 2026 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 dirty="0"/>
                        <a:t>Afleveringer til slutarkiver. Proces forløb aftalt og igangsat, For alle leverancer med månedlig opfølgning i samarbejde med KL. Se efterfølgende slides vedr. arkivering.</a:t>
                      </a:r>
                    </a:p>
                    <a:p>
                      <a:pPr lvl="0"/>
                      <a:endParaRPr lang="da-DK" sz="800" i="1" dirty="0"/>
                    </a:p>
                  </a:txBody>
                  <a:tcPr marL="51435" marR="51435" marT="25718" marB="25718">
                    <a:solidFill>
                      <a:srgbClr val="CBC4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a-DK" sz="800" i="1" dirty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283916671"/>
                  </a:ext>
                </a:extLst>
              </a:tr>
              <a:tr h="408496"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dirty="0"/>
                        <a:t>6*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/>
                        <a:t>KMD Udbetaling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 err="1"/>
                        <a:t>Forbrugsafreg</a:t>
                      </a:r>
                      <a:r>
                        <a:rPr lang="da-DK" sz="800" dirty="0"/>
                        <a:t>-net model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/>
                        <a:t>12 måneder, Opsigelse forventelig 2026 ult.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/>
                        <a:t>KSD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da-DK" sz="800" dirty="0">
                        <a:solidFill>
                          <a:schemeClr val="tx1"/>
                        </a:solidFill>
                      </a:endParaRP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dirty="0">
                          <a:solidFill>
                            <a:schemeClr val="tx1"/>
                          </a:solidFill>
                        </a:rPr>
                        <a:t>Forventet opsigelse 2026 og alle kommuner faset ind ult. august  jf. KMD plan for levr. af ny kommunal ejet udbetalingskomponent </a:t>
                      </a: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da-DK" sz="800" i="1" dirty="0">
                        <a:solidFill>
                          <a:schemeClr val="tx1"/>
                        </a:solidFill>
                      </a:endParaRP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a-DK" sz="800" i="1" dirty="0">
                        <a:solidFill>
                          <a:srgbClr val="000000"/>
                        </a:solidFill>
                      </a:endParaRPr>
                    </a:p>
                  </a:txBody>
                  <a:tcPr marL="51435" marR="51435" marT="25718" marB="2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9088257"/>
                  </a:ext>
                </a:extLst>
              </a:tr>
              <a:tr h="1080135"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/>
                        <a:t>7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lvl="0" indent="0" algn="l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da-DK" sz="800" i="1" dirty="0">
                          <a:solidFill>
                            <a:srgbClr val="0070C0"/>
                          </a:solidFill>
                        </a:rPr>
                        <a:t>KMD Indkomst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>
                          <a:solidFill>
                            <a:srgbClr val="0070C0"/>
                          </a:solidFill>
                        </a:rPr>
                        <a:t>Trappemodel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 dirty="0">
                          <a:solidFill>
                            <a:srgbClr val="0070C0"/>
                          </a:solidFill>
                        </a:rPr>
                        <a:t>6 måneder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 dirty="0">
                          <a:solidFill>
                            <a:srgbClr val="0070C0"/>
                          </a:solidFill>
                        </a:rPr>
                        <a:t>SAPA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 dirty="0">
                          <a:solidFill>
                            <a:srgbClr val="0070C0"/>
                          </a:solidFill>
                        </a:rPr>
                        <a:t>KP, KSD og KY supplerende opslag.</a:t>
                      </a:r>
                      <a:r>
                        <a:rPr lang="da-DK" sz="800" i="1" dirty="0">
                          <a:solidFill>
                            <a:srgbClr val="0070C0"/>
                          </a:solidFill>
                          <a:highlight>
                            <a:srgbClr val="FFFF00"/>
                          </a:highlight>
                        </a:rPr>
                        <a:t> 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800" i="1" dirty="0">
                          <a:solidFill>
                            <a:srgbClr val="0070C0"/>
                          </a:solidFill>
                        </a:rPr>
                        <a:t>Al direkte anvendelse af </a:t>
                      </a:r>
                      <a:r>
                        <a:rPr lang="da-DK" sz="800" i="1" dirty="0" err="1">
                          <a:solidFill>
                            <a:srgbClr val="0070C0"/>
                          </a:solidFill>
                        </a:rPr>
                        <a:t>KMDindkomst</a:t>
                      </a:r>
                      <a:r>
                        <a:rPr lang="da-DK" sz="800" i="1" dirty="0">
                          <a:solidFill>
                            <a:srgbClr val="0070C0"/>
                          </a:solidFill>
                        </a:rPr>
                        <a:t> i KOMBIT fagsystemer udfaset maj 2023. Dvs.</a:t>
                      </a:r>
                    </a:p>
                    <a:p>
                      <a:pPr lvl="0"/>
                      <a:r>
                        <a:rPr lang="da-DK" sz="800" i="1" dirty="0">
                          <a:solidFill>
                            <a:srgbClr val="0070C0"/>
                          </a:solidFill>
                        </a:rPr>
                        <a:t>KSD, KP  og KSD implementeret DUPLA med træk hos SKAT. UFST har meldt ud, at der lukkes for den eksisterende dataadgang til KMD indkomst pr </a:t>
                      </a:r>
                      <a:r>
                        <a:rPr lang="da-DK" sz="800" i="1" u="sng" dirty="0">
                          <a:solidFill>
                            <a:srgbClr val="0070C0"/>
                          </a:solidFill>
                        </a:rPr>
                        <a:t>31/12-24</a:t>
                      </a:r>
                      <a:r>
                        <a:rPr lang="da-DK" sz="800" i="1" dirty="0">
                          <a:solidFill>
                            <a:srgbClr val="0070C0"/>
                          </a:solidFill>
                        </a:rPr>
                        <a:t>. KOMBIT udstiller via DUPLA i SAPA fremover.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lvl="0"/>
                      <a:r>
                        <a:rPr lang="da-DK" sz="800" i="1" dirty="0">
                          <a:solidFill>
                            <a:srgbClr val="0070C0"/>
                          </a:solidFill>
                        </a:rPr>
                        <a:t>Opsagt med udgangen af juni 2024 til ikrafttrædelse 6 mdr. efter</a:t>
                      </a:r>
                    </a:p>
                  </a:txBody>
                  <a:tcPr marL="51435" marR="51435" marT="25718" marB="25718">
                    <a:solidFill>
                      <a:srgbClr val="CBC4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a-DK" sz="800" i="1" dirty="0">
                        <a:solidFill>
                          <a:srgbClr val="0070C0"/>
                        </a:solidFill>
                      </a:endParaRP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2109563840"/>
                  </a:ext>
                </a:extLst>
              </a:tr>
            </a:tbl>
          </a:graphicData>
        </a:graphic>
      </p:graphicFrame>
      <p:sp>
        <p:nvSpPr>
          <p:cNvPr id="4" name="Tekstfelt 3">
            <a:extLst>
              <a:ext uri="{FF2B5EF4-FFF2-40B4-BE49-F238E27FC236}">
                <a16:creationId xmlns:a16="http://schemas.microsoft.com/office/drawing/2014/main" id="{CA50F660-11E8-D0A1-94B1-2F443F3C005B}"/>
              </a:ext>
            </a:extLst>
          </p:cNvPr>
          <p:cNvSpPr txBox="1"/>
          <p:nvPr/>
        </p:nvSpPr>
        <p:spPr>
          <a:xfrm rot="16200000">
            <a:off x="35497" y="3313533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a-DK" sz="1000" b="1" kern="0" dirty="0">
                <a:latin typeface="Neue Haas Grotesk Text Pro" panose="020B0504020202020204" pitchFamily="34" charset="77"/>
                <a:cs typeface="Arial"/>
              </a:rPr>
              <a:t> Oversigt over forudsætningssystemer og økonomi okt. </a:t>
            </a:r>
            <a:r>
              <a:rPr lang="da-DK" sz="1000" b="1" kern="0">
                <a:latin typeface="Neue Haas Grotesk Text Pro" panose="020B0504020202020204" pitchFamily="34" charset="77"/>
                <a:cs typeface="Arial"/>
              </a:rPr>
              <a:t>2024</a:t>
            </a:r>
            <a:endParaRPr lang="da-DK" sz="1000" b="1" kern="0" dirty="0">
              <a:latin typeface="Neue Haas Grotesk Text Pro" panose="020B0504020202020204" pitchFamily="34" charset="77"/>
              <a:cs typeface="Arial"/>
            </a:endParaRP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7F622418-FAAC-E419-5523-3B0972625EB5}"/>
              </a:ext>
            </a:extLst>
          </p:cNvPr>
          <p:cNvSpPr txBox="1"/>
          <p:nvPr/>
        </p:nvSpPr>
        <p:spPr>
          <a:xfrm>
            <a:off x="755576" y="4803998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a-DK" sz="1000" kern="0" dirty="0">
                <a:latin typeface="Neue Haas Grotesk Text Pro" panose="020B0504020202020204" pitchFamily="34" charset="77"/>
                <a:cs typeface="Arial"/>
              </a:rPr>
              <a:t>* Økonomi/omsætning indeholder andre betalinger end monopol anvendelse? Andet forbrug af P-data hjelmes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VIyqA0tYPajlx5s.QZ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YeKHUFTgmANSq4hQK1MQ"/>
</p:tagLst>
</file>

<file path=ppt/theme/theme1.xml><?xml version="1.0" encoding="utf-8"?>
<a:theme xmlns:a="http://schemas.openxmlformats.org/drawingml/2006/main" name="Kontortema">
  <a:themeElements>
    <a:clrScheme name="KOMBIT">
      <a:dk1>
        <a:srgbClr val="111111"/>
      </a:dk1>
      <a:lt1>
        <a:srgbClr val="FFFFFF"/>
      </a:lt1>
      <a:dk2>
        <a:srgbClr val="CCC09E"/>
      </a:dk2>
      <a:lt2>
        <a:srgbClr val="F3EFE0"/>
      </a:lt2>
      <a:accent1>
        <a:srgbClr val="EB052F"/>
      </a:accent1>
      <a:accent2>
        <a:srgbClr val="3373D2"/>
      </a:accent2>
      <a:accent3>
        <a:srgbClr val="1C3F32"/>
      </a:accent3>
      <a:accent4>
        <a:srgbClr val="580D28"/>
      </a:accent4>
      <a:accent5>
        <a:srgbClr val="9656D7"/>
      </a:accent5>
      <a:accent6>
        <a:srgbClr val="B30E60"/>
      </a:accent6>
      <a:hlink>
        <a:srgbClr val="696969"/>
      </a:hlink>
      <a:folHlink>
        <a:srgbClr val="D6D6D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defRPr sz="1000" dirty="0" smtClean="0">
            <a:solidFill>
              <a:schemeClr val="tx1"/>
            </a:solidFill>
            <a:latin typeface="Neue Haas Grotesk Text Pro" panose="020B0504020202020204" pitchFamily="34" charset="77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noFill/>
        <a:ln w="9525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xtLst>
          <a:ext uri="{909E8E84-426E-40dd-AFC4-6F175D3DCCD1}">
            <a14:hiddenFill xmlns:p="http://schemas.openxmlformats.org/presentationml/2006/main" xmlns=""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  <a:ln>
          <a:noFill/>
        </a:ln>
      </a:spPr>
      <a:bodyPr wrap="square">
        <a:noAutofit/>
      </a:bodyPr>
      <a:lstStyle>
        <a:defPPr algn="l">
          <a:spcAft>
            <a:spcPts val="300"/>
          </a:spcAft>
          <a:defRPr sz="1000" kern="0" dirty="0" err="1">
            <a:latin typeface="Neue Haas Grotesk Text Pro" panose="020B0504020202020204" pitchFamily="34" charset="77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2" id="{6DAF6777-821D-41A7-B157-96317E2597F8}" vid="{845E196B-3C5F-475E-9BF8-F468EC165B80}"/>
    </a:ext>
  </a:extLst>
</a:theme>
</file>

<file path=ppt/theme/theme2.xml><?xml version="1.0" encoding="utf-8"?>
<a:theme xmlns:a="http://schemas.openxmlformats.org/drawingml/2006/main" name="Kontor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cc038af5-0e68-43e5-bb17-957ad6f45f8e}" enabled="0" method="" siteId="{cc038af5-0e68-43e5-bb17-957ad6f45f8e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KOMBIT-præsentation v.1.1</Template>
  <TotalTime>4257</TotalTime>
  <Words>1346</Words>
  <Application>Microsoft Office PowerPoint</Application>
  <PresentationFormat>Skærmshow (16:9)</PresentationFormat>
  <Paragraphs>321</Paragraphs>
  <Slides>23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0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3</vt:i4>
      </vt:variant>
    </vt:vector>
  </HeadingPairs>
  <TitlesOfParts>
    <vt:vector size="35" baseType="lpstr">
      <vt:lpstr>Arial</vt:lpstr>
      <vt:lpstr>Calibri</vt:lpstr>
      <vt:lpstr>CambriaMath</vt:lpstr>
      <vt:lpstr>Helvetica</vt:lpstr>
      <vt:lpstr>Neue Haas Grotesk Text Pro</vt:lpstr>
      <vt:lpstr>Normal systemskrift</vt:lpstr>
      <vt:lpstr>Source Sans Pro Light</vt:lpstr>
      <vt:lpstr>Symbol</vt:lpstr>
      <vt:lpstr>Trebuchet MS</vt:lpstr>
      <vt:lpstr>Wingdings</vt:lpstr>
      <vt:lpstr>Kontortema</vt:lpstr>
      <vt:lpstr>think-cell Slide</vt:lpstr>
      <vt:lpstr>U:KFS grundfortælling og status</vt:lpstr>
      <vt:lpstr>Velkommen til mødet</vt:lpstr>
      <vt:lpstr>Velkommen og dagens agenda</vt:lpstr>
      <vt:lpstr>1: Monopolbrud og udfasning - Rammen og historien</vt:lpstr>
      <vt:lpstr>Rammen</vt:lpstr>
      <vt:lpstr>Rammen</vt:lpstr>
      <vt:lpstr>2: Løsninger og forudsætningssystemer</vt:lpstr>
      <vt:lpstr>UKFS Fagløsninger</vt:lpstr>
      <vt:lpstr>Udfasning - systemoverblik - forudsætningsløsninger</vt:lpstr>
      <vt:lpstr>Udfasning - systemoverblik - forudsætningsløsninger</vt:lpstr>
      <vt:lpstr>Reduktioner pr. løsning (ESR besparelser P+V data er slået igennem pr. 30/6-24 – KMD Valg besparelser pr. 1/10-25)</vt:lpstr>
      <vt:lpstr>Opsamling</vt:lpstr>
      <vt:lpstr>3: Økonomien og løsninger 2024 </vt:lpstr>
      <vt:lpstr>Omsætning 2024 98 kommuner – Hovedtal og sum</vt:lpstr>
      <vt:lpstr>Spørgsmål</vt:lpstr>
      <vt:lpstr>Pause 10 min.</vt:lpstr>
      <vt:lpstr>5: Arkivering</vt:lpstr>
      <vt:lpstr>PowerPoint-præsentation</vt:lpstr>
      <vt:lpstr>Status arkivering</vt:lpstr>
      <vt:lpstr>Arkivering status - Afleveret</vt:lpstr>
      <vt:lpstr>UFST Arkivering</vt:lpstr>
      <vt:lpstr>Spørgsmål: Arkivering</vt:lpstr>
      <vt:lpstr>Kontaktoplysning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om Bøgeskov</dc:creator>
  <cp:lastModifiedBy>Tom Bøgeskov</cp:lastModifiedBy>
  <cp:revision>7</cp:revision>
  <cp:lastPrinted>2017-12-13T14:26:02Z</cp:lastPrinted>
  <dcterms:created xsi:type="dcterms:W3CDTF">2024-08-02T10:47:08Z</dcterms:created>
  <dcterms:modified xsi:type="dcterms:W3CDTF">2025-04-07T09:20:36Z</dcterms:modified>
</cp:coreProperties>
</file>